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8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0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1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657" r:id="rId2"/>
    <p:sldMasterId id="2147483663" r:id="rId3"/>
    <p:sldMasterId id="2147483669" r:id="rId4"/>
    <p:sldMasterId id="2147483674" r:id="rId5"/>
    <p:sldMasterId id="2147483693" r:id="rId6"/>
    <p:sldMasterId id="2147483699" r:id="rId7"/>
    <p:sldMasterId id="2147483705" r:id="rId8"/>
    <p:sldMasterId id="2147483711" r:id="rId9"/>
    <p:sldMasterId id="2147483730" r:id="rId10"/>
    <p:sldMasterId id="2147483736" r:id="rId11"/>
  </p:sldMasterIdLst>
  <p:notesMasterIdLst>
    <p:notesMasterId r:id="rId21"/>
  </p:notesMasterIdLst>
  <p:handoutMasterIdLst>
    <p:handoutMasterId r:id="rId22"/>
  </p:handoutMasterIdLst>
  <p:sldIdLst>
    <p:sldId id="630" r:id="rId12"/>
    <p:sldId id="640" r:id="rId13"/>
    <p:sldId id="643" r:id="rId14"/>
    <p:sldId id="644" r:id="rId15"/>
    <p:sldId id="645" r:id="rId16"/>
    <p:sldId id="646" r:id="rId17"/>
    <p:sldId id="647" r:id="rId18"/>
    <p:sldId id="642" r:id="rId19"/>
    <p:sldId id="631" r:id="rId20"/>
  </p:sldIdLst>
  <p:sldSz cx="9144000" cy="6858000" type="screen4x3"/>
  <p:notesSz cx="6797675" cy="9874250"/>
  <p:custDataLst>
    <p:tags r:id="rId23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orient="horz" pos="504" userDrawn="1">
          <p15:clr>
            <a:srgbClr val="A4A3A4"/>
          </p15:clr>
        </p15:guide>
        <p15:guide id="3" pos="90" userDrawn="1">
          <p15:clr>
            <a:srgbClr val="A4A3A4"/>
          </p15:clr>
        </p15:guide>
        <p15:guide id="4" pos="569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P" initials="H" lastIdx="5" clrIdx="0"/>
  <p:cmAuthor id="2" name="SKS" initials="S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8C35"/>
    <a:srgbClr val="001166"/>
    <a:srgbClr val="004A82"/>
    <a:srgbClr val="005696"/>
    <a:srgbClr val="A1343D"/>
    <a:srgbClr val="005A9E"/>
    <a:srgbClr val="46797E"/>
    <a:srgbClr val="AFD1BC"/>
    <a:srgbClr val="79AD97"/>
    <a:srgbClr val="99A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84384" autoAdjust="0"/>
  </p:normalViewPr>
  <p:slideViewPr>
    <p:cSldViewPr snapToGrid="0" showGuides="1">
      <p:cViewPr varScale="1">
        <p:scale>
          <a:sx n="53" d="100"/>
          <a:sy n="53" d="100"/>
        </p:scale>
        <p:origin x="1684" y="32"/>
      </p:cViewPr>
      <p:guideLst>
        <p:guide orient="horz" pos="4133"/>
        <p:guide orient="horz" pos="504"/>
        <p:guide pos="90"/>
        <p:guide pos="56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301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772" y="2"/>
            <a:ext cx="2946301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0534E7-5FF1-4D02-9288-D1B533C19CCF}" type="datetimeFigureOut">
              <a:rPr lang="en-GB" smtClean="0"/>
              <a:t>12/07/2021</a:t>
            </a:fld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2" y="9378952"/>
            <a:ext cx="2946301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49772" y="9378952"/>
            <a:ext cx="2946301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9698A9-4BE5-44FD-B291-40642DCD60F9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70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92B6D0-4B6D-4D59-8D8C-0633C65E19C7}" type="datetimeFigureOut">
              <a:rPr lang="en-GB" smtClean="0"/>
              <a:pPr/>
              <a:t>12/07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36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8826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378826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7ABE39-E6C6-4A94-882F-206667507913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950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8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4668A-1D42-AE4F-B1A2-18487D8B570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984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2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4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3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9.xml"/><Relationship Id="rId7" Type="http://schemas.openxmlformats.org/officeDocument/2006/relationships/image" Target="../media/image2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4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4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777927"/>
            <a:ext cx="7772400" cy="553998"/>
          </a:xfrm>
        </p:spPr>
        <p:txBody>
          <a:bodyPr lIns="0" tIns="0" rIns="0" bIns="0" anchor="b" anchorCtr="0">
            <a:sp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2" y="3655391"/>
            <a:ext cx="7776527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6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6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>
                <a:solidFill>
                  <a:schemeClr val="accent3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/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6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21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8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777927"/>
            <a:ext cx="7772400" cy="553998"/>
          </a:xfrm>
        </p:spPr>
        <p:txBody>
          <a:bodyPr lIns="0" tIns="0" rIns="0" bIns="0" anchor="b" anchorCtr="0">
            <a:sp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2" y="3655391"/>
            <a:ext cx="7776527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6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6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6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83978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02415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119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0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86943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727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54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1"/>
          <p:cNvSpPr>
            <a:spLocks/>
          </p:cNvSpPr>
          <p:nvPr userDrawn="1"/>
        </p:nvSpPr>
        <p:spPr bwMode="auto">
          <a:xfrm rot="15900000">
            <a:off x="437555" y="-3917900"/>
            <a:ext cx="8036719" cy="17857143"/>
          </a:xfrm>
          <a:prstGeom prst="ellipse">
            <a:avLst/>
          </a:prstGeom>
          <a:noFill/>
          <a:ln w="12700">
            <a:solidFill>
              <a:srgbClr val="8BB63C">
                <a:alpha val="2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8" name="Oval 2"/>
          <p:cNvSpPr>
            <a:spLocks/>
          </p:cNvSpPr>
          <p:nvPr userDrawn="1"/>
        </p:nvSpPr>
        <p:spPr bwMode="auto">
          <a:xfrm rot="20700000">
            <a:off x="-1502419" y="971103"/>
            <a:ext cx="13393415" cy="6697266"/>
          </a:xfrm>
          <a:prstGeom prst="ellipse">
            <a:avLst/>
          </a:prstGeom>
          <a:noFill/>
          <a:ln w="12700">
            <a:solidFill>
              <a:srgbClr val="7E8699">
                <a:alpha val="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9" name="Oval 7"/>
          <p:cNvSpPr>
            <a:spLocks/>
          </p:cNvSpPr>
          <p:nvPr userDrawn="1"/>
        </p:nvSpPr>
        <p:spPr bwMode="auto">
          <a:xfrm rot="20700000">
            <a:off x="-1413123" y="613916"/>
            <a:ext cx="13393415" cy="6697266"/>
          </a:xfrm>
          <a:prstGeom prst="ellipse">
            <a:avLst/>
          </a:prstGeom>
          <a:noFill/>
          <a:ln w="12700">
            <a:solidFill>
              <a:srgbClr val="FFFFFF">
                <a:alpha val="1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217766" y="6410399"/>
            <a:ext cx="160734" cy="258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64287" tIns="32143" rIns="64287" bIns="32143"/>
          <a:lstStyle>
            <a:lvl1pPr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8C77D39B-E075-4127-A3EB-D64E9C0A25B6}" type="slidenum">
              <a:rPr lang="en-US" sz="1266">
                <a:solidFill>
                  <a:srgbClr val="FFFFFF">
                    <a:alpha val="15000"/>
                  </a:srgbClr>
                </a:solidFill>
                <a:latin typeface="Calibri"/>
                <a:ea typeface="MS PGothic" charset="0"/>
                <a:cs typeface="Calibri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 sz="1266" dirty="0">
              <a:solidFill>
                <a:srgbClr val="FFFFFF">
                  <a:alpha val="15000"/>
                </a:srgbClr>
              </a:solidFill>
              <a:latin typeface="Calibri"/>
              <a:ea typeface="MS PGothic" charset="0"/>
              <a:cs typeface="Calibri"/>
            </a:endParaRPr>
          </a:p>
        </p:txBody>
      </p:sp>
      <p:sp>
        <p:nvSpPr>
          <p:cNvPr id="12" name="Rectangle 7"/>
          <p:cNvSpPr>
            <a:spLocks/>
          </p:cNvSpPr>
          <p:nvPr userDrawn="1"/>
        </p:nvSpPr>
        <p:spPr bwMode="auto">
          <a:xfrm>
            <a:off x="573750" y="6440136"/>
            <a:ext cx="2732484" cy="17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>
                    <a:alpha val="39999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4" b="1" dirty="0">
                <a:solidFill>
                  <a:srgbClr val="FFFFFF">
                    <a:alpha val="15000"/>
                  </a:srgbClr>
                </a:solidFill>
                <a:ea typeface="MS PGothic" charset="0"/>
                <a:cs typeface="Calibri"/>
                <a:sym typeface="Lucida Grande" charset="0"/>
              </a:rPr>
              <a:t>African Development Bank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572181" y="1302514"/>
            <a:ext cx="8050269" cy="4658018"/>
          </a:xfrm>
          <a:prstGeom prst="rect">
            <a:avLst/>
          </a:prstGeom>
        </p:spPr>
        <p:txBody>
          <a:bodyPr vert="horz" anchor="ctr" anchorCtr="0"/>
          <a:lstStyle>
            <a:lvl1pPr marL="253116" indent="-253116" algn="l" rtl="0" eaLnBrk="0" fontAlgn="base" hangingPunct="0">
              <a:spcBef>
                <a:spcPts val="0"/>
              </a:spcBef>
              <a:spcAft>
                <a:spcPts val="633"/>
              </a:spcAft>
              <a:buSzPct val="100000"/>
              <a:buFont typeface="Gill Sans" charset="0"/>
              <a:buBlip>
                <a:blip r:embed="rId2"/>
              </a:buBlip>
              <a:defRPr lang="fr-FR" sz="2531" kern="1200" dirty="0" smtClean="0">
                <a:solidFill>
                  <a:srgbClr val="FFFFFF"/>
                </a:solidFill>
                <a:effectLst/>
                <a:latin typeface="Calibri"/>
                <a:ea typeface="ヒラギノ角ゴ ProN W3" charset="0"/>
                <a:cs typeface="Calibri"/>
                <a:sym typeface="Gill Sans" charset="0"/>
              </a:defRPr>
            </a:lvl1pPr>
            <a:lvl2pPr marL="574573" indent="-321457">
              <a:defRPr lang="fr-FR" sz="2109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2pPr>
            <a:lvl3pPr marL="696702" indent="-241093">
              <a:defRPr lang="fr-FR" sz="1687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3pPr>
            <a:lvl5pPr marL="1437629" indent="0">
              <a:buNone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72181" y="188640"/>
            <a:ext cx="8050269" cy="708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vert="horz" wrap="square" lIns="50794" tIns="0" rIns="50794" bIns="50794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ts val="2812"/>
              </a:lnSpc>
              <a:defRPr lang="en-US" sz="3375" b="0" i="0" kern="0" dirty="0">
                <a:solidFill>
                  <a:schemeClr val="bg1"/>
                </a:solidFill>
                <a:effectLst/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</a:lstStyle>
          <a:p>
            <a:pPr lvl="0" algn="l" rtl="0" eaLnBrk="0" fontAlgn="base" hangingPunct="0">
              <a:lnSpc>
                <a:spcPts val="3094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ym typeface="Gill Sans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092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1"/>
          <p:cNvSpPr>
            <a:spLocks/>
          </p:cNvSpPr>
          <p:nvPr userDrawn="1"/>
        </p:nvSpPr>
        <p:spPr bwMode="auto">
          <a:xfrm rot="15900000">
            <a:off x="437555" y="-3917900"/>
            <a:ext cx="8036719" cy="17857143"/>
          </a:xfrm>
          <a:prstGeom prst="ellipse">
            <a:avLst/>
          </a:prstGeom>
          <a:noFill/>
          <a:ln w="12700">
            <a:solidFill>
              <a:srgbClr val="8BB63C">
                <a:alpha val="2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8" name="Oval 7"/>
          <p:cNvSpPr>
            <a:spLocks/>
          </p:cNvSpPr>
          <p:nvPr userDrawn="1"/>
        </p:nvSpPr>
        <p:spPr bwMode="auto">
          <a:xfrm rot="20700000">
            <a:off x="-1413123" y="613916"/>
            <a:ext cx="13393415" cy="6697266"/>
          </a:xfrm>
          <a:prstGeom prst="ellipse">
            <a:avLst/>
          </a:prstGeom>
          <a:noFill/>
          <a:ln w="12700">
            <a:solidFill>
              <a:srgbClr val="FFFFFF">
                <a:alpha val="1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4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572181" y="1302514"/>
            <a:ext cx="8050269" cy="4658018"/>
          </a:xfrm>
          <a:prstGeom prst="rect">
            <a:avLst/>
          </a:prstGeom>
        </p:spPr>
        <p:txBody>
          <a:bodyPr vert="horz" anchor="ctr" anchorCtr="0"/>
          <a:lstStyle>
            <a:lvl1pPr marL="253116" indent="-253116" algn="l" rtl="0" eaLnBrk="0" fontAlgn="base" hangingPunct="0">
              <a:spcBef>
                <a:spcPts val="0"/>
              </a:spcBef>
              <a:spcAft>
                <a:spcPts val="633"/>
              </a:spcAft>
              <a:buSzPct val="100000"/>
              <a:buFont typeface="Gill Sans" charset="0"/>
              <a:buBlip>
                <a:blip r:embed="rId2"/>
              </a:buBlip>
              <a:defRPr lang="fr-FR" sz="2531" kern="1200" dirty="0" smtClean="0">
                <a:solidFill>
                  <a:srgbClr val="FFFFFF"/>
                </a:solidFill>
                <a:effectLst/>
                <a:latin typeface="Calibri"/>
                <a:ea typeface="ヒラギノ角ゴ ProN W3" charset="0"/>
                <a:cs typeface="Calibri"/>
                <a:sym typeface="Gill Sans" charset="0"/>
              </a:defRPr>
            </a:lvl1pPr>
            <a:lvl2pPr marL="574573" indent="-321457">
              <a:defRPr lang="fr-FR" sz="2109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2pPr>
            <a:lvl3pPr marL="696702" indent="-241093">
              <a:defRPr lang="fr-FR" sz="1687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3pPr>
            <a:lvl5pPr marL="1437629" indent="0">
              <a:buNone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572181" y="188640"/>
            <a:ext cx="8050269" cy="708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vert="horz" wrap="square" lIns="50794" tIns="0" rIns="50794" bIns="50794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2812"/>
              </a:lnSpc>
              <a:defRPr lang="en-US" sz="3375" b="0" i="0" kern="0" dirty="0">
                <a:solidFill>
                  <a:schemeClr val="bg1"/>
                </a:solidFill>
                <a:effectLst/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</a:lstStyle>
          <a:p>
            <a:pPr lvl="0" algn="l" rtl="0" eaLnBrk="0" fontAlgn="base" hangingPunct="0">
              <a:lnSpc>
                <a:spcPts val="3094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ym typeface="Gill Sans" charset="0"/>
              </a:rPr>
              <a:t>Click to edit Master title style</a:t>
            </a: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217766" y="6410399"/>
            <a:ext cx="160734" cy="258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64287" tIns="32143" rIns="64287" bIns="32143"/>
          <a:lstStyle>
            <a:lvl1pPr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8C77D39B-E075-4127-A3EB-D64E9C0A25B6}" type="slidenum">
              <a:rPr lang="en-US" sz="1266">
                <a:solidFill>
                  <a:srgbClr val="FFFFFF">
                    <a:alpha val="15000"/>
                  </a:srgbClr>
                </a:solidFill>
                <a:latin typeface="Calibri"/>
                <a:ea typeface="MS PGothic" charset="0"/>
                <a:cs typeface="Calibri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 sz="1266" dirty="0">
              <a:solidFill>
                <a:srgbClr val="FFFFFF">
                  <a:alpha val="15000"/>
                </a:srgbClr>
              </a:solidFill>
              <a:latin typeface="Calibri"/>
              <a:ea typeface="MS PGothic" charset="0"/>
              <a:cs typeface="Calibri"/>
            </a:endParaRPr>
          </a:p>
        </p:txBody>
      </p:sp>
      <p:sp>
        <p:nvSpPr>
          <p:cNvPr id="12" name="Rectangle 7"/>
          <p:cNvSpPr>
            <a:spLocks/>
          </p:cNvSpPr>
          <p:nvPr userDrawn="1"/>
        </p:nvSpPr>
        <p:spPr bwMode="auto">
          <a:xfrm>
            <a:off x="573750" y="6440136"/>
            <a:ext cx="2732484" cy="17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>
                    <a:alpha val="39999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b="1" dirty="0">
                <a:solidFill>
                  <a:srgbClr val="FFFFFF">
                    <a:alpha val="15000"/>
                  </a:srgbClr>
                </a:solidFill>
                <a:ea typeface="MS PGothic" charset="0"/>
                <a:cs typeface="Calibri"/>
                <a:sym typeface="Lucida Grande" charset="0"/>
              </a:rPr>
              <a:t>African Development Bank</a:t>
            </a:r>
          </a:p>
        </p:txBody>
      </p:sp>
    </p:spTree>
    <p:extLst>
      <p:ext uri="{BB962C8B-B14F-4D97-AF65-F5344CB8AC3E}">
        <p14:creationId xmlns:p14="http://schemas.microsoft.com/office/powerpoint/2010/main" val="98505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2108" y="381000"/>
            <a:ext cx="6859787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2107" y="1905000"/>
            <a:ext cx="6852578" cy="4114801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2108" y="6400800"/>
            <a:ext cx="4916180" cy="27622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3023" dirty="0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71424" y="6400800"/>
            <a:ext cx="1087325" cy="27622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3F41C87-7AD9-4845-A077-840E4A0F3F06}" type="datetimeFigureOut">
              <a:rPr lang="en-US" sz="3023" smtClean="0">
                <a:solidFill>
                  <a:srgbClr val="000000"/>
                </a:solidFill>
                <a:latin typeface="Gill Sans"/>
                <a:sym typeface="Gill Sans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/12/2021</a:t>
            </a:fld>
            <a:endParaRPr lang="en-US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3078" y="6400800"/>
            <a:ext cx="628815" cy="27622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A013F82-EE5E-44EE-A61D-E31C6657F26F}" type="slidenum">
              <a:rPr lang="fr-FR" sz="3023" smtClean="0">
                <a:solidFill>
                  <a:srgbClr val="000000"/>
                </a:solidFill>
                <a:latin typeface="Gill Sans"/>
                <a:sym typeface="Gill Sans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95034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824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noProof="0">
                  <a:solidFill>
                    <a:schemeClr val="bg1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noProof="0">
                  <a:solidFill>
                    <a:schemeClr val="bg1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noProof="0">
                <a:solidFill>
                  <a:schemeClr val="bg1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noProof="0">
                  <a:solidFill>
                    <a:schemeClr val="bg1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noProof="0">
                  <a:solidFill>
                    <a:schemeClr val="bg1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noProof="0">
                  <a:solidFill>
                    <a:schemeClr val="bg1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noProof="0">
                <a:solidFill>
                  <a:schemeClr val="bg1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noProof="0">
                  <a:solidFill>
                    <a:schemeClr val="bg1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noProof="0" smtClean="0"/>
              <a:pPr/>
              <a:t>‹N°›</a:t>
            </a:fld>
            <a:endParaRPr lang="en-GB" noProof="0"/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1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0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1"/>
          <p:cNvSpPr>
            <a:spLocks/>
          </p:cNvSpPr>
          <p:nvPr userDrawn="1"/>
        </p:nvSpPr>
        <p:spPr bwMode="auto">
          <a:xfrm rot="15900000">
            <a:off x="437555" y="-3917900"/>
            <a:ext cx="8036719" cy="17857143"/>
          </a:xfrm>
          <a:prstGeom prst="ellipse">
            <a:avLst/>
          </a:prstGeom>
          <a:noFill/>
          <a:ln w="12700">
            <a:solidFill>
              <a:srgbClr val="8BB63C">
                <a:alpha val="2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8" name="Oval 2"/>
          <p:cNvSpPr>
            <a:spLocks/>
          </p:cNvSpPr>
          <p:nvPr userDrawn="1"/>
        </p:nvSpPr>
        <p:spPr bwMode="auto">
          <a:xfrm rot="20700000">
            <a:off x="-1502419" y="971103"/>
            <a:ext cx="13393415" cy="6697266"/>
          </a:xfrm>
          <a:prstGeom prst="ellipse">
            <a:avLst/>
          </a:prstGeom>
          <a:noFill/>
          <a:ln w="12700">
            <a:solidFill>
              <a:srgbClr val="7E8699">
                <a:alpha val="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9" name="Oval 7"/>
          <p:cNvSpPr>
            <a:spLocks/>
          </p:cNvSpPr>
          <p:nvPr userDrawn="1"/>
        </p:nvSpPr>
        <p:spPr bwMode="auto">
          <a:xfrm rot="20700000">
            <a:off x="-1413123" y="613916"/>
            <a:ext cx="13393415" cy="6697266"/>
          </a:xfrm>
          <a:prstGeom prst="ellipse">
            <a:avLst/>
          </a:prstGeom>
          <a:noFill/>
          <a:ln w="12700">
            <a:solidFill>
              <a:srgbClr val="FFFFFF">
                <a:alpha val="1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217766" y="6410399"/>
            <a:ext cx="160734" cy="258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64287" tIns="32143" rIns="64287" bIns="32143"/>
          <a:lstStyle>
            <a:lvl1pPr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8C77D39B-E075-4127-A3EB-D64E9C0A25B6}" type="slidenum">
              <a:rPr lang="en-US" sz="1266">
                <a:solidFill>
                  <a:srgbClr val="FFFFFF">
                    <a:alpha val="15000"/>
                  </a:srgbClr>
                </a:solidFill>
                <a:latin typeface="Calibri"/>
                <a:ea typeface="MS PGothic" charset="0"/>
                <a:cs typeface="Calibri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 sz="1266" dirty="0">
              <a:solidFill>
                <a:srgbClr val="FFFFFF">
                  <a:alpha val="15000"/>
                </a:srgbClr>
              </a:solidFill>
              <a:latin typeface="Calibri"/>
              <a:ea typeface="MS PGothic" charset="0"/>
              <a:cs typeface="Calibri"/>
            </a:endParaRPr>
          </a:p>
        </p:txBody>
      </p:sp>
      <p:sp>
        <p:nvSpPr>
          <p:cNvPr id="12" name="Rectangle 7"/>
          <p:cNvSpPr>
            <a:spLocks/>
          </p:cNvSpPr>
          <p:nvPr userDrawn="1"/>
        </p:nvSpPr>
        <p:spPr bwMode="auto">
          <a:xfrm>
            <a:off x="573750" y="6440136"/>
            <a:ext cx="2732484" cy="17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>
                    <a:alpha val="39999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84" b="1" dirty="0">
                <a:solidFill>
                  <a:srgbClr val="FFFFFF">
                    <a:alpha val="15000"/>
                  </a:srgbClr>
                </a:solidFill>
                <a:ea typeface="MS PGothic" charset="0"/>
                <a:cs typeface="Calibri"/>
                <a:sym typeface="Lucida Grande" charset="0"/>
              </a:rPr>
              <a:t>African Development Bank</a:t>
            </a:r>
          </a:p>
        </p:txBody>
      </p:sp>
      <p:sp>
        <p:nvSpPr>
          <p:cNvPr id="4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572181" y="1302514"/>
            <a:ext cx="8050269" cy="4658018"/>
          </a:xfrm>
          <a:prstGeom prst="rect">
            <a:avLst/>
          </a:prstGeom>
        </p:spPr>
        <p:txBody>
          <a:bodyPr vert="horz" anchor="ctr" anchorCtr="0"/>
          <a:lstStyle>
            <a:lvl1pPr marL="253116" indent="-253116" algn="l" rtl="0" eaLnBrk="0" fontAlgn="base" hangingPunct="0">
              <a:spcBef>
                <a:spcPts val="0"/>
              </a:spcBef>
              <a:spcAft>
                <a:spcPts val="633"/>
              </a:spcAft>
              <a:buSzPct val="100000"/>
              <a:buFont typeface="Gill Sans" charset="0"/>
              <a:buBlip>
                <a:blip r:embed="rId2"/>
              </a:buBlip>
              <a:defRPr lang="fr-FR" sz="2531" kern="1200" dirty="0" smtClean="0">
                <a:solidFill>
                  <a:srgbClr val="FFFFFF"/>
                </a:solidFill>
                <a:effectLst/>
                <a:latin typeface="Calibri"/>
                <a:ea typeface="ヒラギノ角ゴ ProN W3" charset="0"/>
                <a:cs typeface="Calibri"/>
                <a:sym typeface="Gill Sans" charset="0"/>
              </a:defRPr>
            </a:lvl1pPr>
            <a:lvl2pPr marL="574573" indent="-321457">
              <a:defRPr lang="fr-FR" sz="2109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2pPr>
            <a:lvl3pPr marL="696702" indent="-241093">
              <a:defRPr lang="fr-FR" sz="1687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3pPr>
            <a:lvl5pPr marL="1437629" indent="0">
              <a:buNone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72181" y="188640"/>
            <a:ext cx="8050269" cy="708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vert="horz" wrap="square" lIns="50794" tIns="0" rIns="50794" bIns="50794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ts val="2812"/>
              </a:lnSpc>
              <a:defRPr lang="en-US" sz="3375" b="0" i="0" kern="0" dirty="0">
                <a:solidFill>
                  <a:schemeClr val="bg1"/>
                </a:solidFill>
                <a:effectLst/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</a:lstStyle>
          <a:p>
            <a:pPr lvl="0" algn="l" rtl="0" eaLnBrk="0" fontAlgn="base" hangingPunct="0">
              <a:lnSpc>
                <a:spcPts val="3094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ym typeface="Gill Sans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304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- 2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1"/>
          <p:cNvSpPr>
            <a:spLocks/>
          </p:cNvSpPr>
          <p:nvPr userDrawn="1"/>
        </p:nvSpPr>
        <p:spPr bwMode="auto">
          <a:xfrm rot="15900000">
            <a:off x="437555" y="-3917900"/>
            <a:ext cx="8036719" cy="17857143"/>
          </a:xfrm>
          <a:prstGeom prst="ellipse">
            <a:avLst/>
          </a:prstGeom>
          <a:noFill/>
          <a:ln w="12700">
            <a:solidFill>
              <a:srgbClr val="8BB63C">
                <a:alpha val="25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8" name="Oval 7"/>
          <p:cNvSpPr>
            <a:spLocks/>
          </p:cNvSpPr>
          <p:nvPr userDrawn="1"/>
        </p:nvSpPr>
        <p:spPr bwMode="auto">
          <a:xfrm rot="20700000">
            <a:off x="-1413123" y="613916"/>
            <a:ext cx="13393415" cy="6697266"/>
          </a:xfrm>
          <a:prstGeom prst="ellipse">
            <a:avLst/>
          </a:prstGeom>
          <a:noFill/>
          <a:ln w="12700">
            <a:solidFill>
              <a:srgbClr val="FFFFFF">
                <a:alpha val="1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4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572181" y="1302514"/>
            <a:ext cx="8050269" cy="4658018"/>
          </a:xfrm>
          <a:prstGeom prst="rect">
            <a:avLst/>
          </a:prstGeom>
        </p:spPr>
        <p:txBody>
          <a:bodyPr vert="horz" anchor="ctr" anchorCtr="0"/>
          <a:lstStyle>
            <a:lvl1pPr marL="253116" indent="-253116" algn="l" rtl="0" eaLnBrk="0" fontAlgn="base" hangingPunct="0">
              <a:spcBef>
                <a:spcPts val="0"/>
              </a:spcBef>
              <a:spcAft>
                <a:spcPts val="633"/>
              </a:spcAft>
              <a:buSzPct val="100000"/>
              <a:buFont typeface="Gill Sans" charset="0"/>
              <a:buBlip>
                <a:blip r:embed="rId2"/>
              </a:buBlip>
              <a:defRPr lang="fr-FR" sz="2531" kern="1200" dirty="0" smtClean="0">
                <a:solidFill>
                  <a:srgbClr val="FFFFFF"/>
                </a:solidFill>
                <a:effectLst/>
                <a:latin typeface="Calibri"/>
                <a:ea typeface="ヒラギノ角ゴ ProN W3" charset="0"/>
                <a:cs typeface="Calibri"/>
                <a:sym typeface="Gill Sans" charset="0"/>
              </a:defRPr>
            </a:lvl1pPr>
            <a:lvl2pPr marL="574573" indent="-321457">
              <a:defRPr lang="fr-FR" sz="2109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2pPr>
            <a:lvl3pPr marL="696702" indent="-241093">
              <a:defRPr lang="fr-FR" sz="1687" dirty="0" smtClean="0">
                <a:solidFill>
                  <a:srgbClr val="FFFFFF"/>
                </a:solidFill>
                <a:effectLst/>
                <a:latin typeface="+mn-lt"/>
                <a:ea typeface="+mn-ea"/>
                <a:cs typeface="+mn-cs"/>
                <a:sym typeface="Gill Sans" charset="0"/>
              </a:defRPr>
            </a:lvl3pPr>
            <a:lvl5pPr marL="1437629" indent="0">
              <a:buNone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572181" y="188640"/>
            <a:ext cx="8050269" cy="708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vert="horz" wrap="square" lIns="50794" tIns="0" rIns="50794" bIns="50794" numCol="1" anchor="ctr" anchorCtr="0" compatLnSpc="1">
            <a:prstTxWarp prst="textNoShape">
              <a:avLst/>
            </a:prstTxWarp>
          </a:bodyPr>
          <a:lstStyle>
            <a:lvl1pPr>
              <a:lnSpc>
                <a:spcPts val="2812"/>
              </a:lnSpc>
              <a:defRPr lang="en-US" sz="3375" b="0" i="0" kern="0" dirty="0">
                <a:solidFill>
                  <a:schemeClr val="bg1"/>
                </a:solidFill>
                <a:effectLst/>
                <a:latin typeface="Calibri" charset="0"/>
                <a:ea typeface="Calibri" charset="0"/>
                <a:cs typeface="Calibri" charset="0"/>
                <a:sym typeface="Gill Sans" charset="0"/>
              </a:defRPr>
            </a:lvl1pPr>
          </a:lstStyle>
          <a:p>
            <a:pPr lvl="0" algn="l" rtl="0" eaLnBrk="0" fontAlgn="base" hangingPunct="0">
              <a:lnSpc>
                <a:spcPts val="3094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ym typeface="Gill Sans" charset="0"/>
              </a:rPr>
              <a:t>Click to edit Master title style</a:t>
            </a: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217766" y="6410399"/>
            <a:ext cx="160734" cy="258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64287" tIns="32143" rIns="64287" bIns="32143"/>
          <a:lstStyle>
            <a:lvl1pPr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3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8C77D39B-E075-4127-A3EB-D64E9C0A25B6}" type="slidenum">
              <a:rPr lang="en-US" sz="1266">
                <a:solidFill>
                  <a:srgbClr val="FFFFFF">
                    <a:alpha val="15000"/>
                  </a:srgbClr>
                </a:solidFill>
                <a:latin typeface="Calibri"/>
                <a:ea typeface="MS PGothic" charset="0"/>
                <a:cs typeface="Calibri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 sz="1266" dirty="0">
              <a:solidFill>
                <a:srgbClr val="FFFFFF">
                  <a:alpha val="15000"/>
                </a:srgbClr>
              </a:solidFill>
              <a:latin typeface="Calibri"/>
              <a:ea typeface="MS PGothic" charset="0"/>
              <a:cs typeface="Calibri"/>
            </a:endParaRPr>
          </a:p>
        </p:txBody>
      </p:sp>
      <p:sp>
        <p:nvSpPr>
          <p:cNvPr id="12" name="Rectangle 7"/>
          <p:cNvSpPr>
            <a:spLocks/>
          </p:cNvSpPr>
          <p:nvPr userDrawn="1"/>
        </p:nvSpPr>
        <p:spPr bwMode="auto">
          <a:xfrm>
            <a:off x="573750" y="6440136"/>
            <a:ext cx="2732484" cy="17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>
                    <a:alpha val="39999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66" b="1" dirty="0">
                <a:solidFill>
                  <a:srgbClr val="FFFFFF">
                    <a:alpha val="15000"/>
                  </a:srgbClr>
                </a:solidFill>
                <a:ea typeface="MS PGothic" charset="0"/>
                <a:cs typeface="Calibri"/>
                <a:sym typeface="Lucida Grande" charset="0"/>
              </a:rPr>
              <a:t>African Development Bank</a:t>
            </a:r>
          </a:p>
        </p:txBody>
      </p:sp>
    </p:spTree>
    <p:extLst>
      <p:ext uri="{BB962C8B-B14F-4D97-AF65-F5344CB8AC3E}">
        <p14:creationId xmlns:p14="http://schemas.microsoft.com/office/powerpoint/2010/main" val="92735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2108" y="381000"/>
            <a:ext cx="6859787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2107" y="1905000"/>
            <a:ext cx="6852578" cy="4114801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2108" y="6400800"/>
            <a:ext cx="4916180" cy="27622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3023" dirty="0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71424" y="6400800"/>
            <a:ext cx="1087325" cy="27622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3F41C87-7AD9-4845-A077-840E4A0F3F06}" type="datetimeFigureOut">
              <a:rPr lang="en-US" sz="3023" smtClean="0">
                <a:solidFill>
                  <a:srgbClr val="000000"/>
                </a:solidFill>
                <a:latin typeface="Gill Sans"/>
                <a:sym typeface="Gill Sans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/12/2021</a:t>
            </a:fld>
            <a:endParaRPr lang="en-US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3078" y="6400800"/>
            <a:ext cx="628815" cy="27622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A013F82-EE5E-44EE-A61D-E31C6657F26F}" type="slidenum">
              <a:rPr lang="fr-FR" sz="3023" smtClean="0">
                <a:solidFill>
                  <a:srgbClr val="000000"/>
                </a:solidFill>
                <a:latin typeface="Gill Sans"/>
                <a:sym typeface="Gill Sans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270630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A23AB7-CEBD-4E56-A115-2F23A5D49404}" type="datetime1">
              <a:rPr lang="en-GB" sz="3023" smtClean="0">
                <a:solidFill>
                  <a:srgbClr val="000000"/>
                </a:solidFill>
                <a:latin typeface="Gill Sans"/>
                <a:sym typeface="Gill Sans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/07/2021</a:t>
            </a:fld>
            <a:endParaRPr lang="en-GB" sz="3023" dirty="0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3023">
                <a:solidFill>
                  <a:srgbClr val="000000"/>
                </a:solidFill>
                <a:latin typeface="Gill Sans"/>
                <a:sym typeface="Gill Sans"/>
              </a:rPr>
              <a:t>Copy file name here</a:t>
            </a:r>
            <a:endParaRPr lang="en-GB" sz="3023" dirty="0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9C6C278-CB13-44E6-8B3A-2944C4062806}" type="slidenum">
              <a:rPr lang="en-GB" sz="3023" smtClean="0">
                <a:solidFill>
                  <a:srgbClr val="000000"/>
                </a:solidFill>
                <a:latin typeface="Gill Sans"/>
                <a:sym typeface="Gill Sans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GB" sz="3023">
              <a:solidFill>
                <a:srgbClr val="000000"/>
              </a:solidFill>
              <a:latin typeface="Gill Sans"/>
              <a:sym typeface="Gill Sans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6"/>
            <a:ext cx="8229600" cy="4079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92212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6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916427"/>
            <a:ext cx="7772400" cy="415498"/>
          </a:xfrm>
        </p:spPr>
        <p:txBody>
          <a:bodyPr lIns="0" tIns="0" rIns="0" bIns="0" anchor="b" anchorCtr="0">
            <a:spAutoFit/>
          </a:bodyPr>
          <a:lstStyle>
            <a:lvl1pPr algn="l">
              <a:defRPr sz="27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3" y="3655393"/>
            <a:ext cx="7776527" cy="230832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500">
                <a:solidFill>
                  <a:schemeClr val="bg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7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8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350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3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8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24164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3858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0672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1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8158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959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noProof="0" smtClean="0"/>
              <a:pPr/>
              <a:t>12/07/2021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py file name here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noProof="0" smtClean="0"/>
              <a:pPr/>
              <a:t>‹N°›</a:t>
            </a:fld>
            <a:endParaRPr lang="en-GB" noProof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94583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8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916427"/>
            <a:ext cx="7772400" cy="415498"/>
          </a:xfrm>
        </p:spPr>
        <p:txBody>
          <a:bodyPr lIns="0" tIns="0" rIns="0" bIns="0" anchor="b" anchorCtr="0">
            <a:spAutoFit/>
          </a:bodyPr>
          <a:lstStyle>
            <a:lvl1pPr algn="l">
              <a:defRPr sz="27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3" y="3655393"/>
            <a:ext cx="7776527" cy="230832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500">
                <a:solidFill>
                  <a:schemeClr val="bg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7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8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350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3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8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68375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7789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592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1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73980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3241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777927"/>
            <a:ext cx="7772400" cy="553998"/>
          </a:xfrm>
        </p:spPr>
        <p:txBody>
          <a:bodyPr lIns="0" tIns="0" rIns="0" bIns="0" anchor="b" anchorCtr="0">
            <a:sp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2" y="3655391"/>
            <a:ext cx="7776527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6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6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6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5297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1307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4511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0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09976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412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noProof="0" smtClean="0"/>
              <a:pPr/>
              <a:t>12/07/2021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py file name here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noProof="0" smtClean="0"/>
              <a:pPr/>
              <a:t>‹N°›</a:t>
            </a:fld>
            <a:endParaRPr lang="en-GB" noProof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0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51763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7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777927"/>
            <a:ext cx="7772400" cy="553998"/>
          </a:xfrm>
        </p:spPr>
        <p:txBody>
          <a:bodyPr lIns="0" tIns="0" rIns="0" bIns="0" anchor="b" anchorCtr="0">
            <a:sp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2" y="3655391"/>
            <a:ext cx="7776527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6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6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6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39131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05671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09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0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1516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2014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6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916427"/>
            <a:ext cx="7772400" cy="415498"/>
          </a:xfrm>
        </p:spPr>
        <p:txBody>
          <a:bodyPr lIns="0" tIns="0" rIns="0" bIns="0" anchor="b" anchorCtr="0">
            <a:spAutoFit/>
          </a:bodyPr>
          <a:lstStyle>
            <a:lvl1pPr algn="l">
              <a:defRPr sz="27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3" y="3655393"/>
            <a:ext cx="7776527" cy="230832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500">
                <a:solidFill>
                  <a:schemeClr val="bg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7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8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350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3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8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33550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87514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4343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1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94349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6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noProof="0" smtClean="0"/>
              <a:pPr/>
              <a:t>12/07/2021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py file name here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noProof="0" smtClean="0"/>
              <a:pPr/>
              <a:t>‹N°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852405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8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916427"/>
            <a:ext cx="7772400" cy="415498"/>
          </a:xfrm>
        </p:spPr>
        <p:txBody>
          <a:bodyPr lIns="0" tIns="0" rIns="0" bIns="0" anchor="b" anchorCtr="0">
            <a:spAutoFit/>
          </a:bodyPr>
          <a:lstStyle>
            <a:lvl1pPr algn="l">
              <a:defRPr sz="27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3" y="3655393"/>
            <a:ext cx="7776527" cy="230832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500">
                <a:solidFill>
                  <a:schemeClr val="bg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7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8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350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3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8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200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4703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59" y="801689"/>
            <a:ext cx="303893" cy="346598"/>
            <a:chOff x="-482745" y="801688"/>
            <a:chExt cx="303893" cy="346598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59" y="6163132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2442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28854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2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6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21" y="-376190"/>
            <a:ext cx="476923" cy="303893"/>
            <a:chOff x="9272588" y="-475343"/>
            <a:chExt cx="476922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288540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9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0565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52135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1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6593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C0772F-35DE-4F14-BE10-9EDC81875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26C4BC-BCCC-4DA5-926E-6393A46E64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8A4034-CF60-4004-A6D5-98DB1DA2C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B71698-65FA-47DE-BE87-64FC48D46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167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2" name="think-cell Slide" r:id="rId6" imgW="236" imgH="236" progId="TCLayout.ActiveDocument.1">
                  <p:embed/>
                </p:oleObj>
              </mc:Choice>
              <mc:Fallback>
                <p:oleObj name="think-cell Slide" r:id="rId6" imgW="236" imgH="23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58813" y="2777927"/>
            <a:ext cx="7772400" cy="553998"/>
          </a:xfrm>
        </p:spPr>
        <p:txBody>
          <a:bodyPr lIns="0" tIns="0" rIns="0" bIns="0" anchor="b" anchorCtr="0">
            <a:sp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58812" y="3655391"/>
            <a:ext cx="7776527" cy="307777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728D8D-3C4E-4FEC-94A8-404096A644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86" y="514083"/>
            <a:ext cx="2091151" cy="49510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1B51B64-67A1-4617-B650-694F9E1B1696}"/>
              </a:ext>
            </a:extLst>
          </p:cNvPr>
          <p:cNvGrpSpPr/>
          <p:nvPr userDrawn="1"/>
        </p:nvGrpSpPr>
        <p:grpSpPr>
          <a:xfrm>
            <a:off x="658839" y="6159846"/>
            <a:ext cx="2160000" cy="54001"/>
            <a:chOff x="658839" y="6159846"/>
            <a:chExt cx="2160000" cy="5400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DEF96C-3227-4AA2-B667-6438887B3B7E}"/>
                </a:ext>
              </a:extLst>
            </p:cNvPr>
            <p:cNvSpPr/>
            <p:nvPr userDrawn="1"/>
          </p:nvSpPr>
          <p:spPr>
            <a:xfrm>
              <a:off x="658839" y="6159846"/>
              <a:ext cx="2160000" cy="54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>
                <a:solidFill>
                  <a:srgbClr val="638C35"/>
                </a:solidFill>
              </a:endParaRPr>
            </a:p>
          </p:txBody>
        </p:sp>
        <p:sp>
          <p:nvSpPr>
            <p:cNvPr id="10" name="Content Placeholder 3">
              <a:extLst>
                <a:ext uri="{FF2B5EF4-FFF2-40B4-BE49-F238E27FC236}">
                  <a16:creationId xmlns:a16="http://schemas.microsoft.com/office/drawing/2014/main" id="{D76B6AD3-03DD-404B-AD89-0096E0F5B7B3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563014" y="6115397"/>
              <a:ext cx="54000" cy="1428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  <p:sp>
          <p:nvSpPr>
            <p:cNvPr id="11" name="Content Placeholder 3">
              <a:extLst>
                <a:ext uri="{FF2B5EF4-FFF2-40B4-BE49-F238E27FC236}">
                  <a16:creationId xmlns:a16="http://schemas.microsoft.com/office/drawing/2014/main" id="{F7FE071F-33F5-46CC-9BC1-7611E79C35F6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756114" y="6151121"/>
              <a:ext cx="54000" cy="7145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2" name="Content Placeholder 3">
              <a:extLst>
                <a:ext uri="{FF2B5EF4-FFF2-40B4-BE49-F238E27FC236}">
                  <a16:creationId xmlns:a16="http://schemas.microsoft.com/office/drawing/2014/main" id="{EDA954C4-9590-4886-8B66-A1A5606468F4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677426" y="6133259"/>
              <a:ext cx="54000" cy="107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91440" tIns="45720" rIns="91440" bIns="45720" rtlCol="0">
              <a:normAutofit fontScale="250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solidFill>
                  <a:srgbClr val="171717"/>
                </a:solidFill>
              </a:endParaRPr>
            </a:p>
          </p:txBody>
        </p:sp>
        <p:sp>
          <p:nvSpPr>
            <p:cNvPr id="13" name="Content Placeholder 3">
              <a:extLst>
                <a:ext uri="{FF2B5EF4-FFF2-40B4-BE49-F238E27FC236}">
                  <a16:creationId xmlns:a16="http://schemas.microsoft.com/office/drawing/2014/main" id="{3B10838E-F168-405F-8CBA-3C150CF76E01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2395014" y="6079672"/>
              <a:ext cx="54000" cy="2143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lIns="91440" tIns="45720" rIns="91440" bIns="45720" rtlCol="0">
              <a:normAutofit fontScale="62500" lnSpcReduction="20000"/>
            </a:bodyPr>
            <a:lstStyle>
              <a:lvl1pPr marL="176213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013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1338" indent="-187325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7550" indent="-176213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95350" indent="-1778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>
                <a:solidFill>
                  <a:srgbClr val="17171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078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6"/>
          <p:cNvGrpSpPr/>
          <p:nvPr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6" name="Group 25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" name="Group 15"/>
          <p:cNvGrpSpPr/>
          <p:nvPr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21" name="Straight Connector 20"/>
          <p:cNvCxnSpPr/>
          <p:nvPr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27"/>
          <p:cNvGrpSpPr/>
          <p:nvPr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 userDrawn="1"/>
        </p:nvGrpSpPr>
        <p:grpSpPr>
          <a:xfrm>
            <a:off x="-427660" y="801688"/>
            <a:ext cx="303893" cy="392765"/>
            <a:chOff x="-482745" y="801688"/>
            <a:chExt cx="303893" cy="392765"/>
          </a:xfrm>
        </p:grpSpPr>
        <p:sp>
          <p:nvSpPr>
            <p:cNvPr id="29" name="TextBox 28"/>
            <p:cNvSpPr txBox="1"/>
            <p:nvPr userDrawn="1"/>
          </p:nvSpPr>
          <p:spPr>
            <a:xfrm>
              <a:off x="-479878" y="1009787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7,30</a:t>
              </a:r>
            </a:p>
          </p:txBody>
        </p:sp>
        <p:grpSp>
          <p:nvGrpSpPr>
            <p:cNvPr id="30" name="Group 29"/>
            <p:cNvGrpSpPr/>
            <p:nvPr userDrawn="1"/>
          </p:nvGrpSpPr>
          <p:grpSpPr>
            <a:xfrm flipV="1">
              <a:off x="-482745" y="801688"/>
              <a:ext cx="303893" cy="147637"/>
              <a:chOff x="-482745" y="1408113"/>
              <a:chExt cx="303893" cy="147637"/>
            </a:xfrm>
          </p:grpSpPr>
          <p:cxnSp>
            <p:nvCxnSpPr>
              <p:cNvPr id="31" name="Straight Connector 30"/>
              <p:cNvCxnSpPr/>
              <p:nvPr userDrawn="1"/>
            </p:nvCxnSpPr>
            <p:spPr>
              <a:xfrm>
                <a:off x="-482745" y="1555750"/>
                <a:ext cx="303893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>
              <a:xfrm rot="5400000">
                <a:off x="-404617" y="1481932"/>
                <a:ext cx="147637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3" name="Group 32"/>
          <p:cNvGrpSpPr/>
          <p:nvPr userDrawn="1"/>
        </p:nvGrpSpPr>
        <p:grpSpPr>
          <a:xfrm>
            <a:off x="-427660" y="6163130"/>
            <a:ext cx="303893" cy="363083"/>
            <a:chOff x="-539895" y="546555"/>
            <a:chExt cx="303893" cy="363083"/>
          </a:xfrm>
        </p:grpSpPr>
        <p:sp>
          <p:nvSpPr>
            <p:cNvPr id="34" name="TextBox 33"/>
            <p:cNvSpPr txBox="1"/>
            <p:nvPr userDrawn="1"/>
          </p:nvSpPr>
          <p:spPr>
            <a:xfrm>
              <a:off x="-537028" y="546555"/>
              <a:ext cx="29815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8,60</a:t>
              </a:r>
            </a:p>
          </p:txBody>
        </p:sp>
        <p:cxnSp>
          <p:nvCxnSpPr>
            <p:cNvPr id="35" name="Straight Connector 34"/>
            <p:cNvCxnSpPr/>
            <p:nvPr userDrawn="1"/>
          </p:nvCxnSpPr>
          <p:spPr>
            <a:xfrm>
              <a:off x="-539895" y="909638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 rot="5400000">
              <a:off x="-461767" y="835820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Box 36"/>
          <p:cNvSpPr txBox="1"/>
          <p:nvPr userDrawn="1"/>
        </p:nvSpPr>
        <p:spPr>
          <a:xfrm>
            <a:off x="-411018" y="-316577"/>
            <a:ext cx="38311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>
                <a:solidFill>
                  <a:srgbClr val="FFFFFF"/>
                </a:solidFill>
              </a:rPr>
              <a:t>12,28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 rot="5400000">
            <a:off x="-1133" y="-224244"/>
            <a:ext cx="3038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3175" y="-224244"/>
            <a:ext cx="147637" cy="0"/>
          </a:xfrm>
          <a:prstGeom prst="line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 userDrawn="1"/>
        </p:nvGrpSpPr>
        <p:grpSpPr>
          <a:xfrm>
            <a:off x="8964613" y="-376190"/>
            <a:ext cx="571500" cy="303893"/>
            <a:chOff x="9272588" y="-475343"/>
            <a:chExt cx="571500" cy="303893"/>
          </a:xfrm>
        </p:grpSpPr>
        <p:sp>
          <p:nvSpPr>
            <p:cNvPr id="41" name="TextBox 40"/>
            <p:cNvSpPr txBox="1"/>
            <p:nvPr userDrawn="1"/>
          </p:nvSpPr>
          <p:spPr>
            <a:xfrm>
              <a:off x="9460970" y="-415729"/>
              <a:ext cx="38311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>
                  <a:solidFill>
                    <a:srgbClr val="FFFFFF"/>
                  </a:solidFill>
                </a:rPr>
                <a:t>12,20</a:t>
              </a:r>
            </a:p>
          </p:txBody>
        </p:sp>
        <p:cxnSp>
          <p:nvCxnSpPr>
            <p:cNvPr id="42" name="Straight Connector 41"/>
            <p:cNvCxnSpPr/>
            <p:nvPr userDrawn="1"/>
          </p:nvCxnSpPr>
          <p:spPr>
            <a:xfrm rot="5400000">
              <a:off x="9120641" y="-323396"/>
              <a:ext cx="303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H="1">
              <a:off x="9272588" y="-323396"/>
              <a:ext cx="147637" cy="0"/>
            </a:xfrm>
            <a:prstGeom prst="line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0EBC45D-C44B-4781-BB78-D69B570DB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4" name="Title 43">
            <a:extLst>
              <a:ext uri="{FF2B5EF4-FFF2-40B4-BE49-F238E27FC236}">
                <a16:creationId xmlns:a16="http://schemas.microsoft.com/office/drawing/2014/main" id="{3883E699-D20B-4924-94F8-F95BF84F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9660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BD992-D784-4A39-BEC6-C974C9E02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365504-ED6C-4466-8405-CB54E2F1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C180C0-E258-4CB9-B973-2A2B78AE6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B335A1-5700-419D-A91E-DEFFD320E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C2984C-D9E3-4245-90BF-629AB8A235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730375"/>
            <a:ext cx="8229600" cy="4079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48528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91BA6-3B46-4E66-ACFD-8EA9C5FBA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ED5A8-FC48-4481-B3E5-53322C032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32C5E-8AC8-4C5B-AACD-FFD085A0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171717">
                    <a:tint val="75000"/>
                  </a:srgbClr>
                </a:solidFill>
              </a:rPr>
              <a:t>Copy file name here</a:t>
            </a:r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6F26D4-5313-4BFB-B8E2-3501F7273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58B9535-BEF3-4201-8DC5-7F88AB3940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12900"/>
            <a:ext cx="8229600" cy="4551363"/>
          </a:xfrm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099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slideLayout" Target="../slideLayouts/slideLayout47.xml"/><Relationship Id="rId7" Type="http://schemas.openxmlformats.org/officeDocument/2006/relationships/vmlDrawing" Target="../drawings/vmlDrawing22.v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8.xml"/><Relationship Id="rId9" Type="http://schemas.openxmlformats.org/officeDocument/2006/relationships/oleObject" Target="../embeddings/oleObject2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slideLayout" Target="../slideLayouts/slideLayout52.xml"/><Relationship Id="rId7" Type="http://schemas.openxmlformats.org/officeDocument/2006/relationships/vmlDrawing" Target="../drawings/vmlDrawing25.v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3.xml"/><Relationship Id="rId9" Type="http://schemas.openxmlformats.org/officeDocument/2006/relationships/oleObject" Target="../embeddings/oleObject25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10.v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10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32.xml"/><Relationship Id="rId7" Type="http://schemas.openxmlformats.org/officeDocument/2006/relationships/vmlDrawing" Target="../drawings/vmlDrawing13.v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3.xml"/><Relationship Id="rId9" Type="http://schemas.openxmlformats.org/officeDocument/2006/relationships/oleObject" Target="../embeddings/oleObject1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slideLayout" Target="../slideLayouts/slideLayout37.xml"/><Relationship Id="rId7" Type="http://schemas.openxmlformats.org/officeDocument/2006/relationships/vmlDrawing" Target="../drawings/vmlDrawing16.v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8.xml"/><Relationship Id="rId9" Type="http://schemas.openxmlformats.org/officeDocument/2006/relationships/oleObject" Target="../embeddings/oleObject1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slideLayout" Target="../slideLayouts/slideLayout42.xml"/><Relationship Id="rId7" Type="http://schemas.openxmlformats.org/officeDocument/2006/relationships/vmlDrawing" Target="../drawings/vmlDrawing19.v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3.xml"/><Relationship Id="rId9" Type="http://schemas.openxmlformats.org/officeDocument/2006/relationships/oleObject" Target="../embeddings/oleObject1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90014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noProof="0" smtClean="0"/>
              <a:pPr/>
              <a:t>12/07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opy file name her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noProof="0" smtClean="0"/>
              <a:pPr/>
              <a:t>‹N°›</a:t>
            </a:fld>
            <a:endParaRPr lang="en-GB" noProof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6" r:id="rId4"/>
    <p:sldLayoutId id="2147483655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78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977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2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32160" indent="-132160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510" indent="-13335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6004" indent="-140494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3216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1513" indent="-133350" algn="l" defTabSz="6858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555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2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32160" indent="-132160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510" indent="-13335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6004" indent="-140494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3216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1513" indent="-133350" algn="l" defTabSz="6858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42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78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261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78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050A">
                <a:alpha val="90000"/>
              </a:srgbClr>
            </a:gs>
            <a:gs pos="0">
              <a:srgbClr val="4C5C8C"/>
            </a:gs>
          </a:gsLst>
          <a:lin ang="19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6105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94" b="1" dirty="0"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latin typeface="Calibri"/>
          <a:ea typeface="ヒラギノ角ゴ ProN W3" charset="0"/>
          <a:cs typeface="Calibri"/>
          <a:sym typeface="Gill San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5pPr>
      <a:lvl6pPr marL="321424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642849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964274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285697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53827" indent="-353827" algn="l" rtl="0" eaLnBrk="0" fontAlgn="base" hangingPunct="0">
        <a:spcBef>
          <a:spcPct val="0"/>
        </a:spcBef>
        <a:spcAft>
          <a:spcPts val="1266"/>
        </a:spcAft>
        <a:buSzPct val="100000"/>
        <a:buFont typeface="Gill Sans"/>
        <a:buBlip>
          <a:blip r:embed="rId6"/>
        </a:buBlip>
        <a:defRPr lang="en-US" sz="2531" kern="1200" dirty="0">
          <a:solidFill>
            <a:srgbClr val="F2F2F2"/>
          </a:solidFill>
          <a:latin typeface="Calibri"/>
          <a:ea typeface="ヒラギノ角ゴ ProN W3" charset="0"/>
          <a:cs typeface="Calibri"/>
          <a:sym typeface="Gill Sans"/>
        </a:defRPr>
      </a:lvl1pPr>
      <a:lvl2pPr marL="900751" indent="-400706" algn="l" rtl="0" eaLnBrk="0" fontAlgn="base" hangingPunct="0">
        <a:spcBef>
          <a:spcPct val="0"/>
        </a:spcBef>
        <a:spcAft>
          <a:spcPts val="422"/>
        </a:spcAft>
        <a:buClr>
          <a:srgbClr val="8AB227"/>
        </a:buClr>
        <a:buSzPct val="100000"/>
        <a:buFont typeface="Gill Sans"/>
        <a:buChar char="•"/>
        <a:defRPr sz="2109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2pPr>
      <a:lvl3pPr marL="1213279" indent="-400706" algn="l" rtl="0" eaLnBrk="0" fontAlgn="base" hangingPunct="0">
        <a:spcBef>
          <a:spcPct val="0"/>
        </a:spcBef>
        <a:spcAft>
          <a:spcPts val="211"/>
        </a:spcAft>
        <a:buClr>
          <a:srgbClr val="8AB227"/>
        </a:buClr>
        <a:buSzPct val="100000"/>
        <a:buFont typeface="Gill Sans"/>
        <a:buChar char="•"/>
        <a:defRPr sz="1687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3pPr>
      <a:lvl4pPr marL="1525806" indent="-400706" algn="l" rtl="0" eaLnBrk="0" fontAlgn="base" hangingPunct="0">
        <a:spcBef>
          <a:spcPct val="0"/>
        </a:spcBef>
        <a:spcAft>
          <a:spcPts val="1266"/>
        </a:spcAft>
        <a:buClr>
          <a:srgbClr val="8AB227"/>
        </a:buClr>
        <a:buSzPct val="100000"/>
        <a:buFont typeface="Gill Sans"/>
        <a:buChar char="•"/>
        <a:defRPr sz="2531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4pPr>
      <a:lvl5pPr marL="1838334" indent="-400706" algn="l" rtl="0" eaLnBrk="0" fontAlgn="base" hangingPunct="0">
        <a:spcBef>
          <a:spcPct val="0"/>
        </a:spcBef>
        <a:spcAft>
          <a:spcPts val="1266"/>
        </a:spcAft>
        <a:buClr>
          <a:srgbClr val="8AB227"/>
        </a:buClr>
        <a:buSzPct val="100000"/>
        <a:buFont typeface="Gill Sans"/>
        <a:buChar char="•"/>
        <a:defRPr sz="2531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5pPr>
      <a:lvl6pPr marL="2160686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482111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2803535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124960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1pPr>
      <a:lvl2pPr marL="321424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642849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3pPr>
      <a:lvl4pPr marL="964274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4pPr>
      <a:lvl5pPr marL="1285697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5pPr>
      <a:lvl6pPr marL="1607123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1928546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249971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571396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050A">
                <a:alpha val="90000"/>
              </a:srgbClr>
            </a:gs>
            <a:gs pos="0">
              <a:srgbClr val="4C5C8C"/>
            </a:gs>
          </a:gsLst>
          <a:lin ang="19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816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xmlns:p14="http://schemas.microsoft.com/office/powerpoint/2010/main" spd="slow">
        <p:fade/>
      </p:transition>
    </mc:Fallback>
  </mc:AlternateConten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94" b="1" dirty="0"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latin typeface="Calibri"/>
          <a:ea typeface="ヒラギノ角ゴ ProN W3" charset="0"/>
          <a:cs typeface="Calibri"/>
          <a:sym typeface="Gill San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94" b="1">
          <a:solidFill>
            <a:srgbClr val="FFFFFF"/>
          </a:solidFill>
          <a:latin typeface="Calibri" pitchFamily="34" charset="0"/>
          <a:ea typeface="ヒラギノ角ゴ ProN W3" charset="0"/>
          <a:cs typeface="Calibri" pitchFamily="34" charset="0"/>
          <a:sym typeface="Gill Sans"/>
        </a:defRPr>
      </a:lvl5pPr>
      <a:lvl6pPr marL="321424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642849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964274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285697" algn="ctr" rtl="0" fontAlgn="base">
        <a:spcBef>
          <a:spcPct val="0"/>
        </a:spcBef>
        <a:spcAft>
          <a:spcPct val="0"/>
        </a:spcAft>
        <a:defRPr sz="5906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53827" indent="-353827" algn="l" rtl="0" eaLnBrk="0" fontAlgn="base" hangingPunct="0">
        <a:spcBef>
          <a:spcPct val="0"/>
        </a:spcBef>
        <a:spcAft>
          <a:spcPts val="1266"/>
        </a:spcAft>
        <a:buSzPct val="100000"/>
        <a:buFont typeface="Gill Sans"/>
        <a:buBlip>
          <a:blip r:embed="rId7"/>
        </a:buBlip>
        <a:defRPr lang="en-US" sz="2531" kern="1200" dirty="0">
          <a:solidFill>
            <a:srgbClr val="F2F2F2"/>
          </a:solidFill>
          <a:latin typeface="Calibri"/>
          <a:ea typeface="ヒラギノ角ゴ ProN W3" charset="0"/>
          <a:cs typeface="Calibri"/>
          <a:sym typeface="Gill Sans"/>
        </a:defRPr>
      </a:lvl1pPr>
      <a:lvl2pPr marL="900751" indent="-400706" algn="l" rtl="0" eaLnBrk="0" fontAlgn="base" hangingPunct="0">
        <a:spcBef>
          <a:spcPct val="0"/>
        </a:spcBef>
        <a:spcAft>
          <a:spcPts val="422"/>
        </a:spcAft>
        <a:buClr>
          <a:srgbClr val="8AB227"/>
        </a:buClr>
        <a:buSzPct val="100000"/>
        <a:buFont typeface="Gill Sans"/>
        <a:buChar char="•"/>
        <a:defRPr sz="2109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2pPr>
      <a:lvl3pPr marL="1213279" indent="-400706" algn="l" rtl="0" eaLnBrk="0" fontAlgn="base" hangingPunct="0">
        <a:spcBef>
          <a:spcPct val="0"/>
        </a:spcBef>
        <a:spcAft>
          <a:spcPts val="211"/>
        </a:spcAft>
        <a:buClr>
          <a:srgbClr val="8AB227"/>
        </a:buClr>
        <a:buSzPct val="100000"/>
        <a:buFont typeface="Gill Sans"/>
        <a:buChar char="•"/>
        <a:defRPr sz="1687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3pPr>
      <a:lvl4pPr marL="1525806" indent="-400706" algn="l" rtl="0" eaLnBrk="0" fontAlgn="base" hangingPunct="0">
        <a:spcBef>
          <a:spcPct val="0"/>
        </a:spcBef>
        <a:spcAft>
          <a:spcPts val="1266"/>
        </a:spcAft>
        <a:buClr>
          <a:srgbClr val="8AB227"/>
        </a:buClr>
        <a:buSzPct val="100000"/>
        <a:buFont typeface="Gill Sans"/>
        <a:buChar char="•"/>
        <a:defRPr sz="2531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4pPr>
      <a:lvl5pPr marL="1838334" indent="-400706" algn="l" rtl="0" eaLnBrk="0" fontAlgn="base" hangingPunct="0">
        <a:spcBef>
          <a:spcPct val="0"/>
        </a:spcBef>
        <a:spcAft>
          <a:spcPts val="1266"/>
        </a:spcAft>
        <a:buClr>
          <a:srgbClr val="8AB227"/>
        </a:buClr>
        <a:buSzPct val="100000"/>
        <a:buFont typeface="Gill Sans"/>
        <a:buChar char="•"/>
        <a:defRPr sz="2531">
          <a:solidFill>
            <a:srgbClr val="F2F2F2"/>
          </a:solidFill>
          <a:latin typeface="+mn-lt"/>
          <a:ea typeface="ヒラギノ角ゴ ProN W3"/>
          <a:cs typeface="ヒラギノ角ゴ ProN W3"/>
          <a:sym typeface="Gill Sans"/>
        </a:defRPr>
      </a:lvl5pPr>
      <a:lvl6pPr marL="2160686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2482111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2803535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3124960" indent="-401780" algn="l" rtl="0" fontAlgn="base">
        <a:spcBef>
          <a:spcPts val="1687"/>
        </a:spcBef>
        <a:spcAft>
          <a:spcPct val="0"/>
        </a:spcAft>
        <a:buSzPct val="171000"/>
        <a:buFont typeface="Gill Sans" charset="0"/>
        <a:buChar char="•"/>
        <a:defRPr sz="3023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1pPr>
      <a:lvl2pPr marL="321424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642849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3pPr>
      <a:lvl4pPr marL="964274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4pPr>
      <a:lvl5pPr marL="1285697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5pPr>
      <a:lvl6pPr marL="1607123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1928546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249971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571396" algn="l" defTabSz="321424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057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2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32160" indent="-132160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510" indent="-13335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6004" indent="-140494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3216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1513" indent="-133350" algn="l" defTabSz="6858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679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2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32160" indent="-132160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510" indent="-13335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6004" indent="-140494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32160" algn="l" defTabSz="6858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1513" indent="-133350" algn="l" defTabSz="6858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493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78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2A23AB7-CEBD-4E56-A115-2F23A5D49404}" type="datetime1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12/07/2021</a:t>
            </a:fld>
            <a:endParaRPr lang="en-GB" dirty="0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171717">
                    <a:tint val="75000"/>
                  </a:srgbClr>
                </a:solidFill>
              </a:rPr>
              <a:t>Copy file nam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‹N°›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87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78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8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0.xml"/><Relationship Id="rId7" Type="http://schemas.openxmlformats.org/officeDocument/2006/relationships/image" Target="../media/image8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2.xml"/><Relationship Id="rId7" Type="http://schemas.openxmlformats.org/officeDocument/2006/relationships/image" Target="../media/image8.png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4.xml"/><Relationship Id="rId7" Type="http://schemas.openxmlformats.org/officeDocument/2006/relationships/image" Target="../media/image8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6.xml"/><Relationship Id="rId7" Type="http://schemas.openxmlformats.org/officeDocument/2006/relationships/image" Target="../media/image8.png"/><Relationship Id="rId2" Type="http://schemas.openxmlformats.org/officeDocument/2006/relationships/tags" Target="../tags/tag5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mailto:A.ZOUKPO-SANANKOUA@AFDB.ORG" TargetMode="External"/><Relationship Id="rId3" Type="http://schemas.openxmlformats.org/officeDocument/2006/relationships/tags" Target="../tags/tag58.xml"/><Relationship Id="rId7" Type="http://schemas.openxmlformats.org/officeDocument/2006/relationships/image" Target="../media/image8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A.ZOUKPO-SANANKOUA@AFDB.ORG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00050A">
                <a:alpha val="90000"/>
              </a:srgbClr>
            </a:gs>
            <a:gs pos="0">
              <a:srgbClr val="4C5C8C"/>
            </a:gs>
          </a:gsLst>
          <a:lin ang="19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7"/>
          <p:cNvSpPr txBox="1"/>
          <p:nvPr/>
        </p:nvSpPr>
        <p:spPr>
          <a:xfrm>
            <a:off x="92467" y="2538727"/>
            <a:ext cx="8783415" cy="12095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0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charset="0"/>
                <a:ea typeface="Calibri Light" charset="0"/>
                <a:cs typeface="Calibri Light" charset="0"/>
                <a:sym typeface="Gill Sans" charset="0"/>
              </a:rPr>
              <a:t>AFRICA SME PROGRAM</a:t>
            </a:r>
          </a:p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0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charset="0"/>
                <a:ea typeface="Calibri Light" charset="0"/>
                <a:cs typeface="Calibri Light" charset="0"/>
                <a:sym typeface="Gill Sans" charset="0"/>
              </a:rPr>
              <a:t>UNLUCK FINANCING FOR RESISIELNCE, INCLUSIVE GROWTH AND JOB CREATION</a:t>
            </a:r>
            <a:endParaRPr lang="en-GB" sz="30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charset="0"/>
              <a:ea typeface="Calibri Light" charset="0"/>
              <a:cs typeface="Calibri Light" charset="0"/>
              <a:sym typeface="Gill Sans" charset="0"/>
            </a:endParaRPr>
          </a:p>
        </p:txBody>
      </p:sp>
      <p:pic>
        <p:nvPicPr>
          <p:cNvPr id="18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658" y="1236647"/>
            <a:ext cx="1381915" cy="9514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50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2DEC54-CBE3-41D9-A59E-6AF2DAA26F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43544A-6D97-4172-9DE5-573AEA9756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100" b="1" dirty="0">
              <a:solidFill>
                <a:srgbClr val="638C35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D3D1DB-2F26-4A8F-B365-2FC837DEB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2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46" name="Rounded Rectangle 12"/>
          <p:cNvSpPr/>
          <p:nvPr/>
        </p:nvSpPr>
        <p:spPr>
          <a:xfrm>
            <a:off x="788010" y="1133886"/>
            <a:ext cx="1349702" cy="287547"/>
          </a:xfrm>
          <a:prstGeom prst="roundRect">
            <a:avLst/>
          </a:prstGeom>
          <a:solidFill>
            <a:srgbClr val="373F4F"/>
          </a:solidFill>
          <a:ln w="25400" cap="flat" cmpd="sng" algn="ctr">
            <a:solidFill>
              <a:srgbClr val="373F4F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  <a:sym typeface="Gill Sans"/>
              </a:rPr>
              <a:t>IMPACT</a:t>
            </a:r>
            <a:endParaRPr lang="en-US" kern="0" dirty="0">
              <a:solidFill>
                <a:srgbClr val="FFFFFF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  <a:sym typeface="Gill Sans"/>
            </a:endParaRPr>
          </a:p>
        </p:txBody>
      </p:sp>
      <p:sp>
        <p:nvSpPr>
          <p:cNvPr id="47" name="Rounded Rectangle 13"/>
          <p:cNvSpPr/>
          <p:nvPr/>
        </p:nvSpPr>
        <p:spPr>
          <a:xfrm>
            <a:off x="788010" y="2425453"/>
            <a:ext cx="1349702" cy="384349"/>
          </a:xfrm>
          <a:prstGeom prst="roundRect">
            <a:avLst/>
          </a:prstGeom>
          <a:solidFill>
            <a:srgbClr val="373F4F"/>
          </a:solidFill>
          <a:ln w="25400" cap="flat" cmpd="sng" algn="ctr">
            <a:solidFill>
              <a:srgbClr val="373F4F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  <a:sym typeface="Gill Sans"/>
              </a:rPr>
              <a:t>OUTCOMES</a:t>
            </a:r>
            <a:endParaRPr lang="en-US" kern="0" dirty="0">
              <a:solidFill>
                <a:srgbClr val="FFFFFF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  <a:sym typeface="Gill Sans"/>
            </a:endParaRPr>
          </a:p>
        </p:txBody>
      </p:sp>
      <p:sp>
        <p:nvSpPr>
          <p:cNvPr id="48" name="Rounded Rectangle 14"/>
          <p:cNvSpPr/>
          <p:nvPr/>
        </p:nvSpPr>
        <p:spPr>
          <a:xfrm>
            <a:off x="790306" y="3836874"/>
            <a:ext cx="1347405" cy="302639"/>
          </a:xfrm>
          <a:prstGeom prst="roundRect">
            <a:avLst/>
          </a:prstGeom>
          <a:solidFill>
            <a:srgbClr val="373F4F"/>
          </a:solidFill>
          <a:ln w="25400" cap="flat" cmpd="sng" algn="ctr">
            <a:solidFill>
              <a:srgbClr val="373F4F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  <a:sym typeface="Gill Sans"/>
              </a:rPr>
              <a:t>OUTPUTS</a:t>
            </a:r>
            <a:endParaRPr lang="en-US" kern="0" dirty="0">
              <a:solidFill>
                <a:srgbClr val="FFFFFF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  <a:sym typeface="Gill Sans"/>
            </a:endParaRPr>
          </a:p>
        </p:txBody>
      </p:sp>
      <p:sp>
        <p:nvSpPr>
          <p:cNvPr id="49" name="Rounded Rectangle 15"/>
          <p:cNvSpPr/>
          <p:nvPr/>
        </p:nvSpPr>
        <p:spPr>
          <a:xfrm>
            <a:off x="788011" y="5452108"/>
            <a:ext cx="1349700" cy="293783"/>
          </a:xfrm>
          <a:prstGeom prst="roundRect">
            <a:avLst/>
          </a:prstGeom>
          <a:solidFill>
            <a:srgbClr val="373F4F"/>
          </a:solidFill>
          <a:ln w="25400" cap="flat" cmpd="sng" algn="ctr">
            <a:solidFill>
              <a:srgbClr val="373F4F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  <a:sym typeface="Gill Sans"/>
              </a:rPr>
              <a:t>INPUT </a:t>
            </a:r>
            <a:endParaRPr lang="en-US" kern="0" dirty="0">
              <a:solidFill>
                <a:srgbClr val="FFFFFF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  <a:sym typeface="Gill Sans"/>
            </a:endParaRPr>
          </a:p>
        </p:txBody>
      </p:sp>
      <p:sp>
        <p:nvSpPr>
          <p:cNvPr id="50" name="Up Arrow 33"/>
          <p:cNvSpPr/>
          <p:nvPr/>
        </p:nvSpPr>
        <p:spPr>
          <a:xfrm>
            <a:off x="1298788" y="4825339"/>
            <a:ext cx="229025" cy="117965"/>
          </a:xfrm>
          <a:prstGeom prst="upArrow">
            <a:avLst/>
          </a:prstGeom>
          <a:solidFill>
            <a:srgbClr val="373F4F"/>
          </a:solidFill>
          <a:ln w="25400" cap="flat" cmpd="sng" algn="ctr">
            <a:solidFill>
              <a:srgbClr val="373F4F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kern="0">
              <a:solidFill>
                <a:srgbClr val="FFFFFF"/>
              </a:solidFill>
              <a:latin typeface="Calibri"/>
              <a:sym typeface="Gill Sans"/>
            </a:endParaRPr>
          </a:p>
        </p:txBody>
      </p:sp>
      <p:sp>
        <p:nvSpPr>
          <p:cNvPr id="51" name="Up Arrow 34"/>
          <p:cNvSpPr/>
          <p:nvPr/>
        </p:nvSpPr>
        <p:spPr>
          <a:xfrm>
            <a:off x="1298787" y="3121598"/>
            <a:ext cx="229025" cy="117965"/>
          </a:xfrm>
          <a:prstGeom prst="upArrow">
            <a:avLst/>
          </a:prstGeom>
          <a:solidFill>
            <a:srgbClr val="373F4F"/>
          </a:solidFill>
          <a:ln w="25400" cap="flat" cmpd="sng" algn="ctr">
            <a:solidFill>
              <a:srgbClr val="373F4F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kern="0">
              <a:solidFill>
                <a:srgbClr val="FFFFFF"/>
              </a:solidFill>
              <a:latin typeface="Calibri"/>
              <a:sym typeface="Gill Sans"/>
            </a:endParaRPr>
          </a:p>
        </p:txBody>
      </p:sp>
      <p:sp>
        <p:nvSpPr>
          <p:cNvPr id="52" name="Up Arrow 35"/>
          <p:cNvSpPr/>
          <p:nvPr/>
        </p:nvSpPr>
        <p:spPr>
          <a:xfrm>
            <a:off x="1298788" y="1800618"/>
            <a:ext cx="229025" cy="117965"/>
          </a:xfrm>
          <a:prstGeom prst="upArrow">
            <a:avLst/>
          </a:prstGeom>
          <a:solidFill>
            <a:srgbClr val="373F4F"/>
          </a:solidFill>
          <a:ln w="25400" cap="flat" cmpd="sng" algn="ctr">
            <a:solidFill>
              <a:srgbClr val="373F4F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kern="0">
              <a:solidFill>
                <a:srgbClr val="FFFFFF"/>
              </a:solidFill>
              <a:latin typeface="Calibri"/>
              <a:sym typeface="Gill Sans"/>
            </a:endParaRPr>
          </a:p>
        </p:txBody>
      </p:sp>
      <p:graphicFrame>
        <p:nvGraphicFramePr>
          <p:cNvPr id="5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414452"/>
              </p:ext>
            </p:extLst>
          </p:nvPr>
        </p:nvGraphicFramePr>
        <p:xfrm>
          <a:off x="2601451" y="981118"/>
          <a:ext cx="5381009" cy="1097280"/>
        </p:xfrm>
        <a:graphic>
          <a:graphicData uri="http://schemas.openxmlformats.org/drawingml/2006/table">
            <a:tbl>
              <a:tblPr/>
              <a:tblGrid>
                <a:gridCol w="53810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315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Poverty alleviation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Increasing socioeconomic resilience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ustainable development to tackle the root causes of migration </a:t>
                      </a:r>
                    </a:p>
                  </a:txBody>
                  <a:tcPr marL="85725" marR="8572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4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699948"/>
              </p:ext>
            </p:extLst>
          </p:nvPr>
        </p:nvGraphicFramePr>
        <p:xfrm>
          <a:off x="2601449" y="2234471"/>
          <a:ext cx="5504579" cy="1097280"/>
        </p:xfrm>
        <a:graphic>
          <a:graphicData uri="http://schemas.openxmlformats.org/drawingml/2006/table">
            <a:tbl>
              <a:tblPr/>
              <a:tblGrid>
                <a:gridCol w="55045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315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Creating 44 000 direct jobs and 132 000 indirect jobs 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30% of job opportunities dedicated to women to promote gender inclusion  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caling up youth entrepreneurship</a:t>
                      </a:r>
                    </a:p>
                  </a:txBody>
                  <a:tcPr marL="85725" marR="8572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5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481594"/>
              </p:ext>
            </p:extLst>
          </p:nvPr>
        </p:nvGraphicFramePr>
        <p:xfrm>
          <a:off x="2601451" y="3627536"/>
          <a:ext cx="5381010" cy="1097280"/>
        </p:xfrm>
        <a:graphic>
          <a:graphicData uri="http://schemas.openxmlformats.org/drawingml/2006/table">
            <a:tbl>
              <a:tblPr/>
              <a:tblGrid>
                <a:gridCol w="5381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55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EUR 410 M Local Currency mobilized to support 21 500 Africa MSMEs 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Local tier II/III Financial Institutions and SMEs provided with adequate training</a:t>
                      </a:r>
                    </a:p>
                  </a:txBody>
                  <a:tcPr marL="85725" marR="8572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6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062797"/>
              </p:ext>
            </p:extLst>
          </p:nvPr>
        </p:nvGraphicFramePr>
        <p:xfrm>
          <a:off x="2601002" y="4992731"/>
          <a:ext cx="5653307" cy="1097280"/>
        </p:xfrm>
        <a:graphic>
          <a:graphicData uri="http://schemas.openxmlformats.org/drawingml/2006/table">
            <a:tbl>
              <a:tblPr/>
              <a:tblGrid>
                <a:gridCol w="5653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55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Deployment of innovative financial instruments, using blended finance mechanisms: EUR 20M EC guarantee, EUR 3,7M TA funding, EUR 130M AfDB commitment through guarantee and funding </a:t>
                      </a:r>
                    </a:p>
                  </a:txBody>
                  <a:tcPr marL="85725" marR="8572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457199" y="47607"/>
            <a:ext cx="8229600" cy="5977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800" dirty="0"/>
              <a:t>Africa SME Program Strategy </a:t>
            </a:r>
            <a:endParaRPr lang="en-GB" sz="2800" dirty="0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967" y="6146895"/>
            <a:ext cx="873736" cy="570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4732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2DEC54-CBE3-41D9-A59E-6AF2DAA26F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2DEC54-CBE3-41D9-A59E-6AF2DAA26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43544A-6D97-4172-9DE5-573AEA9756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100" b="1" dirty="0">
              <a:solidFill>
                <a:srgbClr val="638C35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D3D1DB-2F26-4A8F-B365-2FC837DEB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3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457199" y="47607"/>
            <a:ext cx="8229600" cy="5977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800" dirty="0"/>
              <a:t>REACH SMEs THROUGH FINANCIAL INTERMEDIARIES</a:t>
            </a:r>
            <a:endParaRPr lang="en-GB" sz="2800" dirty="0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967" y="6146895"/>
            <a:ext cx="873736" cy="570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D60118E-F235-47FB-816A-8292BD6864C1}"/>
              </a:ext>
            </a:extLst>
          </p:cNvPr>
          <p:cNvSpPr/>
          <p:nvPr/>
        </p:nvSpPr>
        <p:spPr>
          <a:xfrm>
            <a:off x="683230" y="1708791"/>
            <a:ext cx="75874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Financial support to medium and smaller-sized (tier 2 and tier 3) Financial Institutions (FIs) and Non-Financial Institutions (NFIs), increasing their on-lending capacity, at competitive terms, to SMEs. </a:t>
            </a:r>
            <a:endParaRPr lang="fr-F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497C88-D4A1-4383-BAAB-733AD8033B27}"/>
              </a:ext>
            </a:extLst>
          </p:cNvPr>
          <p:cNvSpPr/>
          <p:nvPr/>
        </p:nvSpPr>
        <p:spPr>
          <a:xfrm>
            <a:off x="683230" y="976657"/>
            <a:ext cx="72997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The program’s objective is to enhance access to finance for small and medium-sized enterprises through local Financial Institutions. </a:t>
            </a:r>
            <a:endParaRPr lang="fr-FR" dirty="0"/>
          </a:p>
        </p:txBody>
      </p:sp>
      <p:pic>
        <p:nvPicPr>
          <p:cNvPr id="23" name="Picture 3">
            <a:extLst>
              <a:ext uri="{FF2B5EF4-FFF2-40B4-BE49-F238E27FC236}">
                <a16:creationId xmlns:a16="http://schemas.microsoft.com/office/drawing/2014/main" id="{0FDDF2B8-CB58-4D82-AE33-BC53731618E7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1513837" y="3173329"/>
            <a:ext cx="5251033" cy="31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8760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2DEC54-CBE3-41D9-A59E-6AF2DAA26F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2DEC54-CBE3-41D9-A59E-6AF2DAA26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43544A-6D97-4172-9DE5-573AEA9756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100" b="1" dirty="0">
              <a:solidFill>
                <a:srgbClr val="638C35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D3D1DB-2F26-4A8F-B365-2FC837DEB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4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457199" y="231641"/>
            <a:ext cx="8229600" cy="5977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800" dirty="0"/>
              <a:t>COMPLETE RANGE OF PRODUCT </a:t>
            </a:r>
            <a:endParaRPr lang="en-GB" sz="2800" dirty="0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967" y="6146895"/>
            <a:ext cx="873736" cy="570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FAF0A490-A6C6-49E6-ACEE-59535D4DBACE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138700" y="1421001"/>
            <a:ext cx="4525768" cy="3695527"/>
          </a:xfrm>
          <a:prstGeom prst="rect">
            <a:avLst/>
          </a:prstGeom>
        </p:spPr>
      </p:pic>
      <p:pic>
        <p:nvPicPr>
          <p:cNvPr id="22" name="Picture 5">
            <a:extLst>
              <a:ext uri="{FF2B5EF4-FFF2-40B4-BE49-F238E27FC236}">
                <a16:creationId xmlns:a16="http://schemas.microsoft.com/office/drawing/2014/main" id="{79BF6246-E696-4DA1-BAFF-9C019171C04E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4664468" y="1421000"/>
            <a:ext cx="3992879" cy="3695528"/>
          </a:xfrm>
          <a:prstGeom prst="rect">
            <a:avLst/>
          </a:prstGeom>
        </p:spPr>
      </p:pic>
      <p:pic>
        <p:nvPicPr>
          <p:cNvPr id="9" name="Picture 1">
            <a:extLst>
              <a:ext uri="{FF2B5EF4-FFF2-40B4-BE49-F238E27FC236}">
                <a16:creationId xmlns:a16="http://schemas.microsoft.com/office/drawing/2014/main" id="{1647C158-8446-4CB6-9A85-B7FE421CD3C4}"/>
              </a:ext>
            </a:extLst>
          </p:cNvPr>
          <p:cNvPicPr/>
          <p:nvPr/>
        </p:nvPicPr>
        <p:blipFill>
          <a:blip r:embed="rId10"/>
          <a:stretch>
            <a:fillRect/>
          </a:stretch>
        </p:blipFill>
        <p:spPr>
          <a:xfrm>
            <a:off x="2927667" y="2271395"/>
            <a:ext cx="3288665" cy="231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82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2DEC54-CBE3-41D9-A59E-6AF2DAA26F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2DEC54-CBE3-41D9-A59E-6AF2DAA26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43544A-6D97-4172-9DE5-573AEA9756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100" b="1" dirty="0">
              <a:solidFill>
                <a:srgbClr val="638C35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D3D1DB-2F26-4A8F-B365-2FC837DEB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5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585627" y="148595"/>
            <a:ext cx="8229600" cy="5977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800" dirty="0"/>
              <a:t>ELIGIBILITY CRITERIA</a:t>
            </a:r>
            <a:endParaRPr lang="en-GB" sz="2800" dirty="0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967" y="6146895"/>
            <a:ext cx="873736" cy="570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1">
            <a:extLst>
              <a:ext uri="{FF2B5EF4-FFF2-40B4-BE49-F238E27FC236}">
                <a16:creationId xmlns:a16="http://schemas.microsoft.com/office/drawing/2014/main" id="{1647C158-8446-4CB6-9A85-B7FE421CD3C4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737445" y="1538692"/>
            <a:ext cx="6703340" cy="268708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C1688D-754E-4DB7-BD33-A80DDBEAAE71}"/>
              </a:ext>
            </a:extLst>
          </p:cNvPr>
          <p:cNvSpPr/>
          <p:nvPr/>
        </p:nvSpPr>
        <p:spPr>
          <a:xfrm>
            <a:off x="683230" y="976657"/>
            <a:ext cx="34058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For  financial intermediaries</a:t>
            </a:r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CABA85-0EAD-46A9-901E-A86660C317ED}"/>
              </a:ext>
            </a:extLst>
          </p:cNvPr>
          <p:cNvSpPr/>
          <p:nvPr/>
        </p:nvSpPr>
        <p:spPr>
          <a:xfrm>
            <a:off x="683230" y="4825380"/>
            <a:ext cx="72586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For  SMES</a:t>
            </a:r>
          </a:p>
          <a:p>
            <a:r>
              <a:rPr lang="en-US" dirty="0"/>
              <a:t>     - criteria set by BEAC for SMEs to access  credit from local </a:t>
            </a:r>
          </a:p>
          <a:p>
            <a:r>
              <a:rPr lang="en-US" dirty="0"/>
              <a:t>        financial intermediaries</a:t>
            </a:r>
          </a:p>
          <a:p>
            <a:r>
              <a:rPr lang="en-US" dirty="0"/>
              <a:t>     - additional criteria as  required by local financial intermediaries</a:t>
            </a:r>
          </a:p>
        </p:txBody>
      </p:sp>
    </p:spTree>
    <p:extLst>
      <p:ext uri="{BB962C8B-B14F-4D97-AF65-F5344CB8AC3E}">
        <p14:creationId xmlns:p14="http://schemas.microsoft.com/office/powerpoint/2010/main" val="22861416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2DEC54-CBE3-41D9-A59E-6AF2DAA26F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2DEC54-CBE3-41D9-A59E-6AF2DAA26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43544A-6D97-4172-9DE5-573AEA9756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100" b="1" dirty="0">
              <a:solidFill>
                <a:srgbClr val="638C35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D3D1DB-2F26-4A8F-B365-2FC837DEB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6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585627" y="148595"/>
            <a:ext cx="8229600" cy="5977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800" dirty="0"/>
              <a:t>ELIGIBILITY CRITERIA</a:t>
            </a:r>
            <a:endParaRPr lang="en-GB" sz="2800" dirty="0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967" y="6146895"/>
            <a:ext cx="873736" cy="570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1">
            <a:extLst>
              <a:ext uri="{FF2B5EF4-FFF2-40B4-BE49-F238E27FC236}">
                <a16:creationId xmlns:a16="http://schemas.microsoft.com/office/drawing/2014/main" id="{1647C158-8446-4CB6-9A85-B7FE421CD3C4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737445" y="1538692"/>
            <a:ext cx="6703340" cy="268708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C1688D-754E-4DB7-BD33-A80DDBEAAE71}"/>
              </a:ext>
            </a:extLst>
          </p:cNvPr>
          <p:cNvSpPr/>
          <p:nvPr/>
        </p:nvSpPr>
        <p:spPr>
          <a:xfrm>
            <a:off x="683230" y="976657"/>
            <a:ext cx="34058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For  financial intermediaries</a:t>
            </a:r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CABA85-0EAD-46A9-901E-A86660C317ED}"/>
              </a:ext>
            </a:extLst>
          </p:cNvPr>
          <p:cNvSpPr/>
          <p:nvPr/>
        </p:nvSpPr>
        <p:spPr>
          <a:xfrm>
            <a:off x="683230" y="4825380"/>
            <a:ext cx="72586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For  SMES</a:t>
            </a:r>
          </a:p>
          <a:p>
            <a:r>
              <a:rPr lang="en-US" dirty="0"/>
              <a:t>     - criteria set by BEAC for SMEs to access  credit from local </a:t>
            </a:r>
          </a:p>
          <a:p>
            <a:r>
              <a:rPr lang="en-US" dirty="0"/>
              <a:t>        financial intermediaries</a:t>
            </a:r>
          </a:p>
          <a:p>
            <a:r>
              <a:rPr lang="en-US" dirty="0"/>
              <a:t>     - additional criteria as  required by local financial intermediaries</a:t>
            </a:r>
          </a:p>
        </p:txBody>
      </p:sp>
    </p:spTree>
    <p:extLst>
      <p:ext uri="{BB962C8B-B14F-4D97-AF65-F5344CB8AC3E}">
        <p14:creationId xmlns:p14="http://schemas.microsoft.com/office/powerpoint/2010/main" val="718966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A2DEC54-CBE3-41D9-A59E-6AF2DAA26F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A2DEC54-CBE3-41D9-A59E-6AF2DAA26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43544A-6D97-4172-9DE5-573AEA9756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noFill/>
          <a:ln w="127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a-DK" sz="2100" b="1" dirty="0">
              <a:solidFill>
                <a:srgbClr val="638C35"/>
              </a:solidFill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D3D1DB-2F26-4A8F-B365-2FC837DEB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7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585627" y="148595"/>
            <a:ext cx="8229600" cy="5977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800" dirty="0"/>
              <a:t>AFRICA SME PROGRAM IN CAMEROUN</a:t>
            </a:r>
            <a:endParaRPr lang="en-GB" sz="2800" dirty="0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967" y="6146895"/>
            <a:ext cx="873736" cy="570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C1688D-754E-4DB7-BD33-A80DDBEAAE71}"/>
              </a:ext>
            </a:extLst>
          </p:cNvPr>
          <p:cNvSpPr/>
          <p:nvPr/>
        </p:nvSpPr>
        <p:spPr>
          <a:xfrm>
            <a:off x="683230" y="1095221"/>
            <a:ext cx="64162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Ongoing discussions with one local financial institution to deploy the program to the benefit of local SMEs </a:t>
            </a:r>
            <a:endParaRPr lang="fr-FR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85DE45-0CA3-4538-8B8B-61A87715A2E1}"/>
              </a:ext>
            </a:extLst>
          </p:cNvPr>
          <p:cNvSpPr/>
          <p:nvPr/>
        </p:nvSpPr>
        <p:spPr>
          <a:xfrm>
            <a:off x="683230" y="2007104"/>
            <a:ext cx="739225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Ongoing discussions with one regional banking player to </a:t>
            </a:r>
            <a:r>
              <a:rPr lang="en-US" dirty="0" err="1"/>
              <a:t>to</a:t>
            </a:r>
            <a:r>
              <a:rPr lang="en-US" dirty="0"/>
              <a:t> deploy the program to the benefits of SMEs in the CEMAC region including Cameroun</a:t>
            </a:r>
            <a:endParaRPr lang="fr-FR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709AC10-AC41-42BE-A91D-E363EA329FA9}"/>
              </a:ext>
            </a:extLst>
          </p:cNvPr>
          <p:cNvSpPr txBox="1">
            <a:spLocks/>
          </p:cNvSpPr>
          <p:nvPr/>
        </p:nvSpPr>
        <p:spPr>
          <a:xfrm>
            <a:off x="2241206" y="3278533"/>
            <a:ext cx="4661587" cy="466758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rgbClr val="171717"/>
                </a:solidFill>
                <a:latin typeface="Calibri" panose="020F0502020204030204" pitchFamily="34" charset="0"/>
              </a:rPr>
              <a:t>How to Apply / Contacts at AfDB: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08955CB-9863-49E6-AA16-76CF100EC67C}"/>
              </a:ext>
            </a:extLst>
          </p:cNvPr>
          <p:cNvSpPr txBox="1"/>
          <p:nvPr/>
        </p:nvSpPr>
        <p:spPr>
          <a:xfrm>
            <a:off x="4726474" y="3850018"/>
            <a:ext cx="3861487" cy="2031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 dirty="0">
                <a:ln>
                  <a:noFill/>
                </a:ln>
                <a:solidFill>
                  <a:srgbClr val="009A44"/>
                </a:solidFill>
                <a:effectLst/>
                <a:uLnTx/>
                <a:uFillTx/>
                <a:latin typeface="Calibri" panose="020F0502020204030204" pitchFamily="34" charset="0"/>
              </a:rPr>
              <a:t>M. M’Para COULIBAL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African</a:t>
            </a:r>
            <a:r>
              <a:rPr kumimoji="0" lang="fr-FR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</a:t>
            </a:r>
            <a:r>
              <a:rPr kumimoji="0" lang="fr-FR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Developement</a:t>
            </a:r>
            <a:r>
              <a:rPr kumimoji="0" lang="fr-FR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Bank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Senior Investment </a:t>
            </a: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Officer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Financial Inclusion &amp; </a:t>
            </a: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Intermediation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Email: </a:t>
            </a: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hlinkClick r:id="rId8"/>
              </a:rPr>
              <a:t>I.COULIBALY@AFDB.ORG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Tel : +225 2026 4383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BD7A2D8-CE72-4338-B339-FD06FBB47B87}"/>
              </a:ext>
            </a:extLst>
          </p:cNvPr>
          <p:cNvSpPr txBox="1"/>
          <p:nvPr/>
        </p:nvSpPr>
        <p:spPr>
          <a:xfrm>
            <a:off x="748931" y="3850018"/>
            <a:ext cx="3823069" cy="2031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FR" b="1" kern="0" dirty="0">
                <a:solidFill>
                  <a:srgbClr val="009A44"/>
                </a:solidFill>
                <a:latin typeface="Calibri" panose="020F0502020204030204" pitchFamily="34" charset="0"/>
              </a:rPr>
              <a:t>Suzanne EKEDI DIBOUNDJE, </a:t>
            </a:r>
            <a:endParaRPr kumimoji="0" lang="fr-FR" b="1" i="0" u="none" strike="noStrike" kern="0" cap="none" spc="0" normalizeH="0" baseline="0" noProof="0" dirty="0">
              <a:ln>
                <a:noFill/>
              </a:ln>
              <a:solidFill>
                <a:srgbClr val="009A44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lang="fr-FR" i="1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African</a:t>
            </a:r>
            <a:r>
              <a:rPr lang="fr-FR" i="1" kern="0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fr-FR" i="1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Developement</a:t>
            </a:r>
            <a:r>
              <a:rPr lang="fr-FR" i="1" kern="0" dirty="0">
                <a:solidFill>
                  <a:prstClr val="black"/>
                </a:solidFill>
                <a:latin typeface="Calibri" panose="020F0502020204030204" pitchFamily="34" charset="0"/>
              </a:rPr>
              <a:t> Bank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lang="fr-FR" kern="0" dirty="0">
                <a:solidFill>
                  <a:prstClr val="black"/>
                </a:solidFill>
                <a:latin typeface="Calibri" panose="020F0502020204030204" pitchFamily="34" charset="0"/>
              </a:rPr>
              <a:t>Investment </a:t>
            </a:r>
            <a:r>
              <a:rPr lang="fr-FR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Officer</a:t>
            </a:r>
            <a:endParaRPr lang="fr-FR" kern="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lang="fr-FR" kern="0" dirty="0">
                <a:solidFill>
                  <a:prstClr val="black"/>
                </a:solidFill>
                <a:latin typeface="Calibri" panose="020F0502020204030204" pitchFamily="34" charset="0"/>
              </a:rPr>
              <a:t>Financial Inclusion &amp; </a:t>
            </a:r>
            <a:r>
              <a:rPr lang="fr-FR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Intermediation</a:t>
            </a:r>
            <a:endParaRPr lang="fr-FR" kern="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Email: </a:t>
            </a:r>
            <a:r>
              <a:rPr lang="fr-FR" kern="0" dirty="0">
                <a:solidFill>
                  <a:prstClr val="black"/>
                </a:solidFill>
                <a:latin typeface="Calibri" panose="020F0502020204030204" pitchFamily="34" charset="0"/>
              </a:rPr>
              <a:t>S.EKEDIDIBOUNDJE@AFDB.ORG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Tel : +225 2026 4364</a:t>
            </a:r>
          </a:p>
        </p:txBody>
      </p:sp>
    </p:spTree>
    <p:extLst>
      <p:ext uri="{BB962C8B-B14F-4D97-AF65-F5344CB8AC3E}">
        <p14:creationId xmlns:p14="http://schemas.microsoft.com/office/powerpoint/2010/main" val="4305469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6C278-CB13-44E6-8B3A-2944C4062806}" type="slidenum">
              <a:rPr lang="en-GB" smtClean="0">
                <a:solidFill>
                  <a:srgbClr val="171717">
                    <a:tint val="75000"/>
                  </a:srgbClr>
                </a:solidFill>
              </a:rPr>
              <a:pPr/>
              <a:t>8</a:t>
            </a:fld>
            <a:endParaRPr lang="en-GB">
              <a:solidFill>
                <a:srgbClr val="171717">
                  <a:tint val="75000"/>
                </a:srgb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7396" y="1127299"/>
            <a:ext cx="727884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556ACC">
                  <a:lumMod val="50000"/>
                </a:srgbClr>
              </a:buClr>
              <a:buFont typeface="Wingdings" panose="05000000000000000000" pitchFamily="2" charset="2"/>
              <a:buChar char="Ø"/>
            </a:pPr>
            <a:r>
              <a:rPr lang="da-DK" dirty="0">
                <a:solidFill>
                  <a:srgbClr val="171717"/>
                </a:solidFill>
                <a:latin typeface="Calibri" panose="020F0502020204030204" pitchFamily="34" charset="0"/>
              </a:rPr>
              <a:t>Direct audience: African regulated Financial Institution may submit application for the benefit of group of SMEs</a:t>
            </a:r>
          </a:p>
          <a:p>
            <a:pPr algn="just">
              <a:buClr>
                <a:srgbClr val="556ACC">
                  <a:lumMod val="50000"/>
                </a:srgbClr>
              </a:buClr>
            </a:pPr>
            <a:r>
              <a:rPr lang="da-DK" dirty="0">
                <a:solidFill>
                  <a:srgbClr val="171717"/>
                </a:solidFill>
                <a:latin typeface="Calibri" panose="020F0502020204030204" pitchFamily="34" charset="0"/>
              </a:rPr>
              <a:t> </a:t>
            </a:r>
          </a:p>
          <a:p>
            <a:pPr marL="342900" indent="-342900" algn="just">
              <a:buClr>
                <a:srgbClr val="556ACC">
                  <a:lumMod val="50000"/>
                </a:srgbClr>
              </a:buClr>
              <a:buFont typeface="Wingdings" panose="05000000000000000000" pitchFamily="2" charset="2"/>
              <a:buChar char="Ø"/>
            </a:pPr>
            <a:r>
              <a:rPr lang="da-DK" dirty="0">
                <a:solidFill>
                  <a:srgbClr val="171717"/>
                </a:solidFill>
                <a:latin typeface="Calibri" panose="020F0502020204030204" pitchFamily="34" charset="0"/>
              </a:rPr>
              <a:t>Indirect audience:  African SMEs,  to be put in contact with beneficiaries local Financial Institution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1124466" y="2694689"/>
            <a:ext cx="4661587" cy="466758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rgbClr val="171717"/>
                </a:solidFill>
                <a:latin typeface="Calibri" panose="020F0502020204030204" pitchFamily="34" charset="0"/>
              </a:rPr>
              <a:t>How to Apply / Contacts at AfDB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885F985-0B69-44C6-A685-6A61BB6BA084}"/>
              </a:ext>
            </a:extLst>
          </p:cNvPr>
          <p:cNvSpPr txBox="1">
            <a:spLocks/>
          </p:cNvSpPr>
          <p:nvPr/>
        </p:nvSpPr>
        <p:spPr>
          <a:xfrm>
            <a:off x="457200" y="131418"/>
            <a:ext cx="8229600" cy="5977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a-DK" sz="2800" dirty="0">
                <a:solidFill>
                  <a:srgbClr val="171717"/>
                </a:solidFill>
                <a:latin typeface="Calibri" panose="020F0502020204030204" pitchFamily="34" charset="0"/>
              </a:rPr>
              <a:t>TARGET AUDIENCE </a:t>
            </a:r>
            <a:endParaRPr lang="en-GB" sz="2800" dirty="0">
              <a:latin typeface="Calibri" panose="020F0502020204030204" pitchFamily="34" charset="0"/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4862396" y="3219691"/>
            <a:ext cx="3861487" cy="2031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 dirty="0">
                <a:ln>
                  <a:noFill/>
                </a:ln>
                <a:solidFill>
                  <a:srgbClr val="009A44"/>
                </a:solidFill>
                <a:effectLst/>
                <a:uLnTx/>
                <a:uFillTx/>
                <a:latin typeface="Calibri" panose="020F0502020204030204" pitchFamily="34" charset="0"/>
              </a:rPr>
              <a:t>M. M’Para COULIBAL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African</a:t>
            </a:r>
            <a:r>
              <a:rPr kumimoji="0" lang="fr-FR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</a:t>
            </a:r>
            <a:r>
              <a:rPr kumimoji="0" lang="fr-FR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Developement</a:t>
            </a:r>
            <a:r>
              <a:rPr kumimoji="0" lang="fr-FR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 Bank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Senior Investment </a:t>
            </a: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Officer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Financial Inclusion &amp; </a:t>
            </a: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Intermediation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Email: </a:t>
            </a: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hlinkClick r:id="rId2"/>
              </a:rPr>
              <a:t>I.COULIBALY@AFDB.ORG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Tel : +225 2026 4383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884853" y="3219691"/>
            <a:ext cx="3823069" cy="2031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FR" b="1" kern="0" dirty="0">
                <a:solidFill>
                  <a:srgbClr val="009A44"/>
                </a:solidFill>
                <a:latin typeface="Calibri" panose="020F0502020204030204" pitchFamily="34" charset="0"/>
              </a:rPr>
              <a:t>Suzanne EKEDI DIBOUNDJE, </a:t>
            </a:r>
            <a:endParaRPr kumimoji="0" lang="fr-FR" b="1" i="0" u="none" strike="noStrike" kern="0" cap="none" spc="0" normalizeH="0" baseline="0" noProof="0" dirty="0">
              <a:ln>
                <a:noFill/>
              </a:ln>
              <a:solidFill>
                <a:srgbClr val="009A44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lang="fr-FR" i="1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African</a:t>
            </a:r>
            <a:r>
              <a:rPr lang="fr-FR" i="1" kern="0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fr-FR" i="1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Developement</a:t>
            </a:r>
            <a:r>
              <a:rPr lang="fr-FR" i="1" kern="0" dirty="0">
                <a:solidFill>
                  <a:prstClr val="black"/>
                </a:solidFill>
                <a:latin typeface="Calibri" panose="020F0502020204030204" pitchFamily="34" charset="0"/>
              </a:rPr>
              <a:t> Bank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lang="fr-FR" kern="0" dirty="0">
                <a:solidFill>
                  <a:prstClr val="black"/>
                </a:solidFill>
                <a:latin typeface="Calibri" panose="020F0502020204030204" pitchFamily="34" charset="0"/>
              </a:rPr>
              <a:t>Investment </a:t>
            </a:r>
            <a:r>
              <a:rPr lang="fr-FR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Officer</a:t>
            </a:r>
            <a:endParaRPr lang="fr-FR" kern="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lang="fr-FR" kern="0" dirty="0">
                <a:solidFill>
                  <a:prstClr val="black"/>
                </a:solidFill>
                <a:latin typeface="Calibri" panose="020F0502020204030204" pitchFamily="34" charset="0"/>
              </a:rPr>
              <a:t>Financial Inclusion &amp; </a:t>
            </a:r>
            <a:r>
              <a:rPr lang="fr-FR" kern="0" dirty="0" err="1">
                <a:solidFill>
                  <a:prstClr val="black"/>
                </a:solidFill>
                <a:latin typeface="Calibri" panose="020F0502020204030204" pitchFamily="34" charset="0"/>
              </a:rPr>
              <a:t>Intermediation</a:t>
            </a:r>
            <a:endParaRPr lang="fr-FR" kern="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Email: </a:t>
            </a:r>
            <a:r>
              <a:rPr lang="fr-FR" kern="0" dirty="0">
                <a:solidFill>
                  <a:prstClr val="black"/>
                </a:solidFill>
                <a:latin typeface="Calibri" panose="020F0502020204030204" pitchFamily="34" charset="0"/>
              </a:rPr>
              <a:t>S.EKEDIDIBOUNDJE@AFDB.ORG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lvl="0"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Tel : +225 2026 4364</a:t>
            </a:r>
          </a:p>
        </p:txBody>
      </p:sp>
    </p:spTree>
    <p:extLst>
      <p:ext uri="{BB962C8B-B14F-4D97-AF65-F5344CB8AC3E}">
        <p14:creationId xmlns:p14="http://schemas.microsoft.com/office/powerpoint/2010/main" val="558631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01190" y="2770802"/>
            <a:ext cx="3341621" cy="1215135"/>
          </a:xfrm>
        </p:spPr>
        <p:txBody>
          <a:bodyPr/>
          <a:lstStyle/>
          <a:p>
            <a:pPr marL="0" indent="0">
              <a:buNone/>
            </a:pPr>
            <a:r>
              <a:rPr lang="en-US" sz="4219" dirty="0"/>
              <a:t>THANK YOU</a:t>
            </a:r>
          </a:p>
        </p:txBody>
      </p:sp>
      <p:pic>
        <p:nvPicPr>
          <p:cNvPr id="6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967" y="6146895"/>
            <a:ext cx="873736" cy="5707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250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2.60008211186551290000E+000&quot;&gt;&lt;m_msothmcolidx val=&quot;0&quot;/&gt;&lt;m_rgb r=&quot;C8&quot; g=&quot;6D&quot; b=&quot;50&quot;/&gt;&lt;m_nBrightness val=&quot;0&quot;/&gt;&lt;/elem&gt;&lt;elem m_fUsage=&quot;2.12637156125847060000E+000&quot;&gt;&lt;m_msothmcolidx val=&quot;0&quot;/&gt;&lt;m_rgb r=&quot;46&quot; g=&quot;79&quot; b=&quot;7E&quot;/&gt;&lt;m_nBrightness val=&quot;0&quot;/&gt;&lt;/elem&gt;&lt;elem m_fUsage=&quot;1.88116817375507090000E+000&quot;&gt;&lt;m_msothmcolidx val=&quot;0&quot;/&gt;&lt;m_rgb r=&quot;A1&quot; g=&quot;34&quot; b=&quot;44&quot;/&gt;&lt;m_nBrightness val=&quot;0&quot;/&gt;&lt;/elem&gt;&lt;elem m_fUsage=&quot;1.88085064911098420000E+000&quot;&gt;&lt;m_msothmcolidx val=&quot;0&quot;/&gt;&lt;m_rgb r=&quot;AF&quot; g=&quot;D1&quot; b=&quot;BC&quot;/&gt;&lt;m_nBrightness val=&quot;0&quot;/&gt;&lt;/elem&gt;&lt;elem m_fUsage=&quot;8.26629526261411060000E-001&quot;&gt;&lt;m_msothmcolidx val=&quot;0&quot;/&gt;&lt;m_rgb r=&quot;36&quot; g=&quot;53&quot; b=&quot;67&quot;/&gt;&lt;m_nBrightness val=&quot;0&quot;/&gt;&lt;/elem&gt;&lt;elem m_fUsage=&quot;4.85666268771200950000E-001&quot;&gt;&lt;m_msothmcolidx val=&quot;0&quot;/&gt;&lt;m_rgb r=&quot;A8&quot; g=&quot;C2&quot; b=&quot;CA&quot;/&gt;&lt;m_nBrightness val=&quot;0&quot;/&gt;&lt;/elem&gt;&lt;elem m_fUsage=&quot;1.61660687715988210000E-001&quot;&gt;&lt;m_msothmcolidx val=&quot;0&quot;/&gt;&lt;m_rgb r=&quot;79&quot; g=&quot;AD&quot; b=&quot;97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ObbPj5RS6pNwC7GlFr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mQZsDuBEaGtBsgijkEl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ObbPj5RS6pNwC7GlFr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ObbPj5RS6pNwC7GlFr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ObbPj5RS6pNwC7GlFrb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ObbPj5RS6pNwC7GlFr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ObbPj5RS6pNwC7GlFr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VlRXNTwkS93Cv0DwxWTw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7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8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Titre et puces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373F4F"/>
      </a:accent1>
      <a:accent2>
        <a:srgbClr val="333399"/>
      </a:accent2>
      <a:accent3>
        <a:srgbClr val="FFFFFF"/>
      </a:accent3>
      <a:accent4>
        <a:srgbClr val="000000"/>
      </a:accent4>
      <a:accent5>
        <a:srgbClr val="AEAFB2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re et puc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Titre et puces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373F4F"/>
      </a:accent1>
      <a:accent2>
        <a:srgbClr val="333399"/>
      </a:accent2>
      <a:accent3>
        <a:srgbClr val="FFFFFF"/>
      </a:accent3>
      <a:accent4>
        <a:srgbClr val="000000"/>
      </a:accent4>
      <a:accent5>
        <a:srgbClr val="AEAFB2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re et puc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4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5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6_110207_CommonsConsultants_Template (3)">
  <a:themeElements>
    <a:clrScheme name="Custom 3">
      <a:dk1>
        <a:srgbClr val="171717"/>
      </a:dk1>
      <a:lt1>
        <a:srgbClr val="FFFFFF"/>
      </a:lt1>
      <a:dk2>
        <a:srgbClr val="A8A8A8"/>
      </a:dk2>
      <a:lt2>
        <a:srgbClr val="D7D9DF"/>
      </a:lt2>
      <a:accent1>
        <a:srgbClr val="DA2D44"/>
      </a:accent1>
      <a:accent2>
        <a:srgbClr val="556ACC"/>
      </a:accent2>
      <a:accent3>
        <a:srgbClr val="638C35"/>
      </a:accent3>
      <a:accent4>
        <a:srgbClr val="DCAA3F"/>
      </a:accent4>
      <a:accent5>
        <a:srgbClr val="DE7312"/>
      </a:accent5>
      <a:accent6>
        <a:srgbClr val="672D98"/>
      </a:accent6>
      <a:hlink>
        <a:srgbClr val="002060"/>
      </a:hlink>
      <a:folHlink>
        <a:srgbClr val="0070C0"/>
      </a:folHlink>
    </a:clrScheme>
    <a:fontScheme name="Commoins Consulta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2"/>
          </a:solidFill>
          <a:prstDash val="solid"/>
        </a:ln>
      </a:spPr>
      <a:bodyPr lIns="0" tIns="0" rIns="0" bIns="0" rtlCol="0" anchor="ctr"/>
      <a:lstStyle>
        <a:defPPr algn="ctr">
          <a:defRPr>
            <a:solidFill>
              <a:schemeClr val="accent3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53</TotalTime>
  <Words>466</Words>
  <Application>Microsoft Office PowerPoint</Application>
  <PresentationFormat>Affichage à l'écran (4:3)</PresentationFormat>
  <Paragraphs>78</Paragraphs>
  <Slides>9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26" baseType="lpstr">
      <vt:lpstr>Arial</vt:lpstr>
      <vt:lpstr>Calibri</vt:lpstr>
      <vt:lpstr>Calibri Light</vt:lpstr>
      <vt:lpstr>Gill Sans</vt:lpstr>
      <vt:lpstr>Wingdings</vt:lpstr>
      <vt:lpstr>110207_CommonsConsultants_Template (3)</vt:lpstr>
      <vt:lpstr>1_110207_CommonsConsultants_Template (3)</vt:lpstr>
      <vt:lpstr>2_110207_CommonsConsultants_Template (3)</vt:lpstr>
      <vt:lpstr>Titre et puces</vt:lpstr>
      <vt:lpstr>1_Titre et puces</vt:lpstr>
      <vt:lpstr>3_110207_CommonsConsultants_Template (3)</vt:lpstr>
      <vt:lpstr>4_110207_CommonsConsultants_Template (3)</vt:lpstr>
      <vt:lpstr>5_110207_CommonsConsultants_Template (3)</vt:lpstr>
      <vt:lpstr>6_110207_CommonsConsultants_Template (3)</vt:lpstr>
      <vt:lpstr>7_110207_CommonsConsultants_Template (3)</vt:lpstr>
      <vt:lpstr>8_110207_CommonsConsultants_Template (3)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er Utzon</dc:creator>
  <cp:lastModifiedBy>MANGELE, SEBASTIEN THEOPHILE</cp:lastModifiedBy>
  <cp:revision>666</cp:revision>
  <cp:lastPrinted>2019-02-19T17:43:46Z</cp:lastPrinted>
  <dcterms:created xsi:type="dcterms:W3CDTF">2012-01-04T08:08:57Z</dcterms:created>
  <dcterms:modified xsi:type="dcterms:W3CDTF">2021-07-12T12:04:18Z</dcterms:modified>
</cp:coreProperties>
</file>